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</p:sldMasterIdLst>
  <p:sldIdLst>
    <p:sldId id="256" r:id="rId4"/>
    <p:sldId id="2141411744" r:id="rId5"/>
    <p:sldId id="1881838745" r:id="rId6"/>
    <p:sldId id="2141411745" r:id="rId7"/>
    <p:sldId id="2141411746" r:id="rId8"/>
    <p:sldId id="2141411747" r:id="rId9"/>
    <p:sldId id="2141411749" r:id="rId10"/>
    <p:sldId id="2141411750" r:id="rId11"/>
    <p:sldId id="2141411751" r:id="rId12"/>
    <p:sldId id="2141411752" r:id="rId13"/>
    <p:sldId id="2141411753" r:id="rId14"/>
    <p:sldId id="2141411754" r:id="rId15"/>
    <p:sldId id="2141411755" r:id="rId16"/>
    <p:sldId id="2141411756" r:id="rId17"/>
    <p:sldId id="2080108566" r:id="rId18"/>
    <p:sldId id="2141411757" r:id="rId19"/>
    <p:sldId id="308" r:id="rId20"/>
  </p:sldIdLst>
  <p:sldSz cx="12192000" cy="6858000"/>
  <p:notesSz cx="6858000" cy="9144000"/>
  <p:custDataLst>
    <p:tags r:id="rId2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  <a:srgbClr val="336699"/>
    <a:srgbClr val="FFFFFF"/>
    <a:srgbClr val="829BC4"/>
    <a:srgbClr val="2A2AA6"/>
    <a:srgbClr val="3333CC"/>
    <a:srgbClr val="66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A58446-F25B-4A7F-B286-BE8D441AAF9F}" v="716" dt="2022-12-21T11:54:54.0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2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Casanovas Riera" userId="19b4df69-51d1-477c-9849-6339011cbe4d" providerId="ADAL" clId="{82A58446-F25B-4A7F-B286-BE8D441AAF9F}"/>
    <pc:docChg chg="undo custSel addSld delSld modSld">
      <pc:chgData name="Anna Casanovas Riera" userId="19b4df69-51d1-477c-9849-6339011cbe4d" providerId="ADAL" clId="{82A58446-F25B-4A7F-B286-BE8D441AAF9F}" dt="2022-12-21T11:54:47.051" v="1608"/>
      <pc:docMkLst>
        <pc:docMk/>
      </pc:docMkLst>
      <pc:sldChg chg="addSp delSp modSp mod">
        <pc:chgData name="Anna Casanovas Riera" userId="19b4df69-51d1-477c-9849-6339011cbe4d" providerId="ADAL" clId="{82A58446-F25B-4A7F-B286-BE8D441AAF9F}" dt="2022-12-21T11:54:47.051" v="1608"/>
        <pc:sldMkLst>
          <pc:docMk/>
          <pc:sldMk cId="3992983395" sldId="256"/>
        </pc:sldMkLst>
        <pc:spChg chg="mod">
          <ac:chgData name="Anna Casanovas Riera" userId="19b4df69-51d1-477c-9849-6339011cbe4d" providerId="ADAL" clId="{82A58446-F25B-4A7F-B286-BE8D441AAF9F}" dt="2022-12-21T11:54:47.003" v="1567" actId="948"/>
          <ac:spMkLst>
            <pc:docMk/>
            <pc:sldMk cId="3992983395" sldId="256"/>
            <ac:spMk id="2" creationId="{1B435B28-7112-46DA-A144-5AC3295B4F7A}"/>
          </ac:spMkLst>
        </pc:spChg>
        <pc:spChg chg="mod">
          <ac:chgData name="Anna Casanovas Riera" userId="19b4df69-51d1-477c-9849-6339011cbe4d" providerId="ADAL" clId="{82A58446-F25B-4A7F-B286-BE8D441AAF9F}" dt="2022-12-21T10:13:04.755" v="332" actId="948"/>
          <ac:spMkLst>
            <pc:docMk/>
            <pc:sldMk cId="3992983395" sldId="256"/>
            <ac:spMk id="3" creationId="{6AB5C54E-22DB-4113-A912-D58480C8247F}"/>
          </ac:spMkLst>
        </pc:spChg>
        <pc:spChg chg="add del mod modVis">
          <ac:chgData name="Anna Casanovas Riera" userId="19b4df69-51d1-477c-9849-6339011cbe4d" providerId="ADAL" clId="{82A58446-F25B-4A7F-B286-BE8D441AAF9F}" dt="2022-12-21T10:12:01.262" v="298"/>
          <ac:spMkLst>
            <pc:docMk/>
            <pc:sldMk cId="3992983395" sldId="256"/>
            <ac:spMk id="5" creationId="{14042553-B1D6-4246-A70F-85125BBF35F4}"/>
          </ac:spMkLst>
        </pc:spChg>
        <pc:spChg chg="add del mod modVis">
          <ac:chgData name="Anna Casanovas Riera" userId="19b4df69-51d1-477c-9849-6339011cbe4d" providerId="ADAL" clId="{82A58446-F25B-4A7F-B286-BE8D441AAF9F}" dt="2022-12-21T11:54:45.554" v="1557"/>
          <ac:spMkLst>
            <pc:docMk/>
            <pc:sldMk cId="3992983395" sldId="256"/>
            <ac:spMk id="6" creationId="{56D99127-88D4-4E83-89ED-F642520557B8}"/>
          </ac:spMkLst>
        </pc:spChg>
        <pc:spChg chg="add del mod modVis">
          <ac:chgData name="Anna Casanovas Riera" userId="19b4df69-51d1-477c-9849-6339011cbe4d" providerId="ADAL" clId="{82A58446-F25B-4A7F-B286-BE8D441AAF9F}" dt="2022-12-21T11:54:47.048" v="1606"/>
          <ac:spMkLst>
            <pc:docMk/>
            <pc:sldMk cId="3992983395" sldId="256"/>
            <ac:spMk id="7" creationId="{86EFA049-F724-4AD0-BE61-9311902C1610}"/>
          </ac:spMkLst>
        </pc:spChg>
        <pc:graphicFrameChg chg="mod">
          <ac:chgData name="Anna Casanovas Riera" userId="19b4df69-51d1-477c-9849-6339011cbe4d" providerId="ADAL" clId="{82A58446-F25B-4A7F-B286-BE8D441AAF9F}" dt="2022-12-21T11:54:47.051" v="1608"/>
          <ac:graphicFrameMkLst>
            <pc:docMk/>
            <pc:sldMk cId="3992983395" sldId="256"/>
            <ac:graphicFrameMk id="4" creationId="{E57396CA-2760-46A0-AE46-7746C5EED496}"/>
          </ac:graphicFrameMkLst>
        </pc:graphicFrameChg>
      </pc:sldChg>
      <pc:sldChg chg="addSp modSp add mod">
        <pc:chgData name="Anna Casanovas Riera" userId="19b4df69-51d1-477c-9849-6339011cbe4d" providerId="ADAL" clId="{82A58446-F25B-4A7F-B286-BE8D441AAF9F}" dt="2022-12-21T11:43:26.859" v="1454" actId="207"/>
        <pc:sldMkLst>
          <pc:docMk/>
          <pc:sldMk cId="2275045813" sldId="308"/>
        </pc:sldMkLst>
        <pc:spChg chg="add mod">
          <ac:chgData name="Anna Casanovas Riera" userId="19b4df69-51d1-477c-9849-6339011cbe4d" providerId="ADAL" clId="{82A58446-F25B-4A7F-B286-BE8D441AAF9F}" dt="2022-12-21T11:43:24.604" v="1453" actId="207"/>
          <ac:spMkLst>
            <pc:docMk/>
            <pc:sldMk cId="2275045813" sldId="308"/>
            <ac:spMk id="3" creationId="{94A17A47-8410-4FD1-8DA6-8BE988EC2115}"/>
          </ac:spMkLst>
        </pc:spChg>
        <pc:spChg chg="mod">
          <ac:chgData name="Anna Casanovas Riera" userId="19b4df69-51d1-477c-9849-6339011cbe4d" providerId="ADAL" clId="{82A58446-F25B-4A7F-B286-BE8D441AAF9F}" dt="2022-12-21T11:43:26.859" v="1454" actId="207"/>
          <ac:spMkLst>
            <pc:docMk/>
            <pc:sldMk cId="2275045813" sldId="308"/>
            <ac:spMk id="10" creationId="{A1DB0E21-7AFA-4F7A-B15A-2BD860BAB7ED}"/>
          </ac:spMkLst>
        </pc:spChg>
      </pc:sldChg>
      <pc:sldChg chg="del">
        <pc:chgData name="Anna Casanovas Riera" userId="19b4df69-51d1-477c-9849-6339011cbe4d" providerId="ADAL" clId="{82A58446-F25B-4A7F-B286-BE8D441AAF9F}" dt="2022-12-21T10:11:34.826" v="257" actId="47"/>
        <pc:sldMkLst>
          <pc:docMk/>
          <pc:sldMk cId="1041640424" sldId="1881838743"/>
        </pc:sldMkLst>
      </pc:sldChg>
      <pc:sldChg chg="modSp mod">
        <pc:chgData name="Anna Casanovas Riera" userId="19b4df69-51d1-477c-9849-6339011cbe4d" providerId="ADAL" clId="{82A58446-F25B-4A7F-B286-BE8D441AAF9F}" dt="2022-12-21T10:16:30.213" v="536" actId="20577"/>
        <pc:sldMkLst>
          <pc:docMk/>
          <pc:sldMk cId="2060644724" sldId="1881838745"/>
        </pc:sldMkLst>
        <pc:spChg chg="mod">
          <ac:chgData name="Anna Casanovas Riera" userId="19b4df69-51d1-477c-9849-6339011cbe4d" providerId="ADAL" clId="{82A58446-F25B-4A7F-B286-BE8D441AAF9F}" dt="2022-12-21T10:16:30.213" v="536" actId="20577"/>
          <ac:spMkLst>
            <pc:docMk/>
            <pc:sldMk cId="2060644724" sldId="1881838745"/>
            <ac:spMk id="9" creationId="{7B5FA118-66F3-4584-B96A-5036FC744C73}"/>
          </ac:spMkLst>
        </pc:spChg>
      </pc:sldChg>
      <pc:sldChg chg="modSp mod">
        <pc:chgData name="Anna Casanovas Riera" userId="19b4df69-51d1-477c-9849-6339011cbe4d" providerId="ADAL" clId="{82A58446-F25B-4A7F-B286-BE8D441AAF9F}" dt="2022-12-21T10:29:11.766" v="786" actId="20577"/>
        <pc:sldMkLst>
          <pc:docMk/>
          <pc:sldMk cId="253501567" sldId="2080108566"/>
        </pc:sldMkLst>
        <pc:spChg chg="mod">
          <ac:chgData name="Anna Casanovas Riera" userId="19b4df69-51d1-477c-9849-6339011cbe4d" providerId="ADAL" clId="{82A58446-F25B-4A7F-B286-BE8D441AAF9F}" dt="2022-12-21T10:29:11.766" v="786" actId="20577"/>
          <ac:spMkLst>
            <pc:docMk/>
            <pc:sldMk cId="253501567" sldId="2080108566"/>
            <ac:spMk id="72" creationId="{98FD5F41-DF03-49B0-8C3E-88C18CB9EACA}"/>
          </ac:spMkLst>
        </pc:spChg>
      </pc:sldChg>
      <pc:sldChg chg="modSp mod">
        <pc:chgData name="Anna Casanovas Riera" userId="19b4df69-51d1-477c-9849-6339011cbe4d" providerId="ADAL" clId="{82A58446-F25B-4A7F-B286-BE8D441AAF9F}" dt="2022-12-21T10:14:33.611" v="386" actId="1036"/>
        <pc:sldMkLst>
          <pc:docMk/>
          <pc:sldMk cId="3432668405" sldId="2141411744"/>
        </pc:sldMkLst>
        <pc:spChg chg="mod">
          <ac:chgData name="Anna Casanovas Riera" userId="19b4df69-51d1-477c-9849-6339011cbe4d" providerId="ADAL" clId="{82A58446-F25B-4A7F-B286-BE8D441AAF9F}" dt="2022-12-21T10:14:29.589" v="381" actId="1036"/>
          <ac:spMkLst>
            <pc:docMk/>
            <pc:sldMk cId="3432668405" sldId="2141411744"/>
            <ac:spMk id="10" creationId="{6A9A65BF-3279-4C34-B53D-94741E3FC7F6}"/>
          </ac:spMkLst>
        </pc:spChg>
        <pc:spChg chg="mod">
          <ac:chgData name="Anna Casanovas Riera" userId="19b4df69-51d1-477c-9849-6339011cbe4d" providerId="ADAL" clId="{82A58446-F25B-4A7F-B286-BE8D441AAF9F}" dt="2022-12-21T10:14:33.611" v="386" actId="1036"/>
          <ac:spMkLst>
            <pc:docMk/>
            <pc:sldMk cId="3432668405" sldId="2141411744"/>
            <ac:spMk id="11" creationId="{58B31543-75C4-4EF4-B97A-376F41BC8E12}"/>
          </ac:spMkLst>
        </pc:spChg>
        <pc:spChg chg="mod">
          <ac:chgData name="Anna Casanovas Riera" userId="19b4df69-51d1-477c-9849-6339011cbe4d" providerId="ADAL" clId="{82A58446-F25B-4A7F-B286-BE8D441AAF9F}" dt="2022-12-21T10:14:12.495" v="378" actId="114"/>
          <ac:spMkLst>
            <pc:docMk/>
            <pc:sldMk cId="3432668405" sldId="2141411744"/>
            <ac:spMk id="16" creationId="{46A97DEA-DA01-4447-A1B7-4D23CF23EC2D}"/>
          </ac:spMkLst>
        </pc:spChg>
        <pc:spChg chg="mod">
          <ac:chgData name="Anna Casanovas Riera" userId="19b4df69-51d1-477c-9849-6339011cbe4d" providerId="ADAL" clId="{82A58446-F25B-4A7F-B286-BE8D441AAF9F}" dt="2022-12-21T10:13:55.929" v="364" actId="114"/>
          <ac:spMkLst>
            <pc:docMk/>
            <pc:sldMk cId="3432668405" sldId="2141411744"/>
            <ac:spMk id="18" creationId="{960B34ED-C530-4AB6-95C4-936DDBC2AF0E}"/>
          </ac:spMkLst>
        </pc:spChg>
        <pc:picChg chg="mod">
          <ac:chgData name="Anna Casanovas Riera" userId="19b4df69-51d1-477c-9849-6339011cbe4d" providerId="ADAL" clId="{82A58446-F25B-4A7F-B286-BE8D441AAF9F}" dt="2022-12-21T10:13:49.304" v="362" actId="1035"/>
          <ac:picMkLst>
            <pc:docMk/>
            <pc:sldMk cId="3432668405" sldId="2141411744"/>
            <ac:picMk id="27" creationId="{8BF18D09-3840-4290-8230-985B35513F48}"/>
          </ac:picMkLst>
        </pc:picChg>
      </pc:sldChg>
      <pc:sldChg chg="modSp mod">
        <pc:chgData name="Anna Casanovas Riera" userId="19b4df69-51d1-477c-9849-6339011cbe4d" providerId="ADAL" clId="{82A58446-F25B-4A7F-B286-BE8D441AAF9F}" dt="2022-12-21T10:29:42.351" v="787" actId="1076"/>
        <pc:sldMkLst>
          <pc:docMk/>
          <pc:sldMk cId="599991553" sldId="2141411745"/>
        </pc:sldMkLst>
        <pc:picChg chg="mod">
          <ac:chgData name="Anna Casanovas Riera" userId="19b4df69-51d1-477c-9849-6339011cbe4d" providerId="ADAL" clId="{82A58446-F25B-4A7F-B286-BE8D441AAF9F}" dt="2022-12-21T10:29:42.351" v="787" actId="1076"/>
          <ac:picMkLst>
            <pc:docMk/>
            <pc:sldMk cId="599991553" sldId="2141411745"/>
            <ac:picMk id="18" creationId="{51D3453F-4E90-48F5-ACC0-C7EC63291E15}"/>
          </ac:picMkLst>
        </pc:picChg>
      </pc:sldChg>
      <pc:sldChg chg="addSp delSp modSp mod">
        <pc:chgData name="Anna Casanovas Riera" userId="19b4df69-51d1-477c-9849-6339011cbe4d" providerId="ADAL" clId="{82A58446-F25B-4A7F-B286-BE8D441AAF9F}" dt="2022-12-21T11:44:22.968" v="1502" actId="165"/>
        <pc:sldMkLst>
          <pc:docMk/>
          <pc:sldMk cId="627402152" sldId="2141411747"/>
        </pc:sldMkLst>
        <pc:spChg chg="mod ord">
          <ac:chgData name="Anna Casanovas Riera" userId="19b4df69-51d1-477c-9849-6339011cbe4d" providerId="ADAL" clId="{82A58446-F25B-4A7F-B286-BE8D441AAF9F}" dt="2022-12-21T11:28:24.032" v="1243"/>
          <ac:spMkLst>
            <pc:docMk/>
            <pc:sldMk cId="627402152" sldId="2141411747"/>
            <ac:spMk id="2" creationId="{CA143CEC-18B5-4B6C-BDAF-C5492BA2D4DB}"/>
          </ac:spMkLst>
        </pc:spChg>
        <pc:spChg chg="mod ord">
          <ac:chgData name="Anna Casanovas Riera" userId="19b4df69-51d1-477c-9849-6339011cbe4d" providerId="ADAL" clId="{82A58446-F25B-4A7F-B286-BE8D441AAF9F}" dt="2022-12-21T11:28:24.035" v="1245"/>
          <ac:spMkLst>
            <pc:docMk/>
            <pc:sldMk cId="627402152" sldId="2141411747"/>
            <ac:spMk id="3" creationId="{14B41B6A-C6DA-441E-90CC-862BCED2919D}"/>
          </ac:spMkLst>
        </pc:spChg>
        <pc:spChg chg="add del mod ord">
          <ac:chgData name="Anna Casanovas Riera" userId="19b4df69-51d1-477c-9849-6339011cbe4d" providerId="ADAL" clId="{82A58446-F25B-4A7F-B286-BE8D441AAF9F}" dt="2022-12-21T11:29:10.237" v="1274" actId="478"/>
          <ac:spMkLst>
            <pc:docMk/>
            <pc:sldMk cId="627402152" sldId="2141411747"/>
            <ac:spMk id="4" creationId="{6FDD4767-EE10-42BF-8C92-06A5A07C0F98}"/>
          </ac:spMkLst>
        </pc:spChg>
        <pc:spChg chg="add mod ord topLvl">
          <ac:chgData name="Anna Casanovas Riera" userId="19b4df69-51d1-477c-9849-6339011cbe4d" providerId="ADAL" clId="{82A58446-F25B-4A7F-B286-BE8D441AAF9F}" dt="2022-12-21T11:44:22.968" v="1502" actId="165"/>
          <ac:spMkLst>
            <pc:docMk/>
            <pc:sldMk cId="627402152" sldId="2141411747"/>
            <ac:spMk id="5" creationId="{55F7F846-8398-47D8-951F-FFAC28809F45}"/>
          </ac:spMkLst>
        </pc:spChg>
        <pc:spChg chg="add mod ord topLvl">
          <ac:chgData name="Anna Casanovas Riera" userId="19b4df69-51d1-477c-9849-6339011cbe4d" providerId="ADAL" clId="{82A58446-F25B-4A7F-B286-BE8D441AAF9F}" dt="2022-12-21T11:44:22.968" v="1502" actId="165"/>
          <ac:spMkLst>
            <pc:docMk/>
            <pc:sldMk cId="627402152" sldId="2141411747"/>
            <ac:spMk id="6" creationId="{13244C5D-E595-4B0F-9C20-F742C50A177E}"/>
          </ac:spMkLst>
        </pc:spChg>
        <pc:grpChg chg="add del mod">
          <ac:chgData name="Anna Casanovas Riera" userId="19b4df69-51d1-477c-9849-6339011cbe4d" providerId="ADAL" clId="{82A58446-F25B-4A7F-B286-BE8D441AAF9F}" dt="2022-12-21T11:44:22.968" v="1502" actId="165"/>
          <ac:grpSpMkLst>
            <pc:docMk/>
            <pc:sldMk cId="627402152" sldId="2141411747"/>
            <ac:grpSpMk id="7" creationId="{B7140834-2D7C-4A25-8AA6-FA6CA0E39FD1}"/>
          </ac:grpSpMkLst>
        </pc:grpChg>
        <pc:graphicFrameChg chg="mod topLvl">
          <ac:chgData name="Anna Casanovas Riera" userId="19b4df69-51d1-477c-9849-6339011cbe4d" providerId="ADAL" clId="{82A58446-F25B-4A7F-B286-BE8D441AAF9F}" dt="2022-12-21T11:44:22.968" v="1502" actId="165"/>
          <ac:graphicFrameMkLst>
            <pc:docMk/>
            <pc:sldMk cId="627402152" sldId="2141411747"/>
            <ac:graphicFrameMk id="10" creationId="{356D04F0-E32D-4D3F-BF0B-D91E85DAE355}"/>
          </ac:graphicFrameMkLst>
        </pc:graphicFrameChg>
        <pc:graphicFrameChg chg="mod">
          <ac:chgData name="Anna Casanovas Riera" userId="19b4df69-51d1-477c-9849-6339011cbe4d" providerId="ADAL" clId="{82A58446-F25B-4A7F-B286-BE8D441AAF9F}" dt="2022-12-21T11:28:24.055" v="1255"/>
          <ac:graphicFrameMkLst>
            <pc:docMk/>
            <pc:sldMk cId="627402152" sldId="2141411747"/>
            <ac:graphicFrameMk id="16" creationId="{E709A836-4CFE-402F-AB39-5B8597A5A1EE}"/>
          </ac:graphicFrameMkLst>
        </pc:graphicFrameChg>
        <pc:picChg chg="mod ord">
          <ac:chgData name="Anna Casanovas Riera" userId="19b4df69-51d1-477c-9849-6339011cbe4d" providerId="ADAL" clId="{82A58446-F25B-4A7F-B286-BE8D441AAF9F}" dt="2022-12-21T11:28:24.038" v="1247"/>
          <ac:picMkLst>
            <pc:docMk/>
            <pc:sldMk cId="627402152" sldId="2141411747"/>
            <ac:picMk id="37" creationId="{6484616C-11D5-47C5-824A-FF622B79669E}"/>
          </ac:picMkLst>
        </pc:picChg>
      </pc:sldChg>
      <pc:sldChg chg="addSp delSp modSp mod">
        <pc:chgData name="Anna Casanovas Riera" userId="19b4df69-51d1-477c-9849-6339011cbe4d" providerId="ADAL" clId="{82A58446-F25B-4A7F-B286-BE8D441AAF9F}" dt="2022-12-21T10:21:25.402" v="568" actId="1037"/>
        <pc:sldMkLst>
          <pc:docMk/>
          <pc:sldMk cId="3700476099" sldId="2141411749"/>
        </pc:sldMkLst>
        <pc:spChg chg="add mod">
          <ac:chgData name="Anna Casanovas Riera" userId="19b4df69-51d1-477c-9849-6339011cbe4d" providerId="ADAL" clId="{82A58446-F25B-4A7F-B286-BE8D441AAF9F}" dt="2022-12-21T10:21:25.402" v="568" actId="1037"/>
          <ac:spMkLst>
            <pc:docMk/>
            <pc:sldMk cId="3700476099" sldId="2141411749"/>
            <ac:spMk id="25" creationId="{49C6F9B9-FC9C-4E81-8229-C43316C76816}"/>
          </ac:spMkLst>
        </pc:spChg>
        <pc:picChg chg="mod">
          <ac:chgData name="Anna Casanovas Riera" userId="19b4df69-51d1-477c-9849-6339011cbe4d" providerId="ADAL" clId="{82A58446-F25B-4A7F-B286-BE8D441AAF9F}" dt="2022-12-21T10:20:06.239" v="555" actId="1076"/>
          <ac:picMkLst>
            <pc:docMk/>
            <pc:sldMk cId="3700476099" sldId="2141411749"/>
            <ac:picMk id="5" creationId="{025B3264-81E4-4238-803B-7A0696019D49}"/>
          </ac:picMkLst>
        </pc:picChg>
        <pc:cxnChg chg="add mod">
          <ac:chgData name="Anna Casanovas Riera" userId="19b4df69-51d1-477c-9849-6339011cbe4d" providerId="ADAL" clId="{82A58446-F25B-4A7F-B286-BE8D441AAF9F}" dt="2022-12-21T10:19:41.245" v="548" actId="1076"/>
          <ac:cxnSpMkLst>
            <pc:docMk/>
            <pc:sldMk cId="3700476099" sldId="2141411749"/>
            <ac:cxnSpMk id="15" creationId="{1CA263EB-A456-49A5-BCF1-610F49EB5EFB}"/>
          </ac:cxnSpMkLst>
        </pc:cxnChg>
        <pc:cxnChg chg="add mod">
          <ac:chgData name="Anna Casanovas Riera" userId="19b4df69-51d1-477c-9849-6339011cbe4d" providerId="ADAL" clId="{82A58446-F25B-4A7F-B286-BE8D441AAF9F}" dt="2022-12-21T10:19:00.692" v="543" actId="14100"/>
          <ac:cxnSpMkLst>
            <pc:docMk/>
            <pc:sldMk cId="3700476099" sldId="2141411749"/>
            <ac:cxnSpMk id="22" creationId="{0E457CCD-0875-47E7-AB56-6F0D2BB20C5E}"/>
          </ac:cxnSpMkLst>
        </pc:cxnChg>
        <pc:cxnChg chg="add del mod">
          <ac:chgData name="Anna Casanovas Riera" userId="19b4df69-51d1-477c-9849-6339011cbe4d" providerId="ADAL" clId="{82A58446-F25B-4A7F-B286-BE8D441AAF9F}" dt="2022-12-21T10:20:08.111" v="556" actId="478"/>
          <ac:cxnSpMkLst>
            <pc:docMk/>
            <pc:sldMk cId="3700476099" sldId="2141411749"/>
            <ac:cxnSpMk id="31" creationId="{A7CB75E8-29DB-47A4-A32E-13D4A2F703CF}"/>
          </ac:cxnSpMkLst>
        </pc:cxnChg>
      </pc:sldChg>
      <pc:sldChg chg="addSp delSp modSp mod">
        <pc:chgData name="Anna Casanovas Riera" userId="19b4df69-51d1-477c-9849-6339011cbe4d" providerId="ADAL" clId="{82A58446-F25B-4A7F-B286-BE8D441AAF9F}" dt="2022-12-21T10:24:05.433" v="612" actId="478"/>
        <pc:sldMkLst>
          <pc:docMk/>
          <pc:sldMk cId="1369666477" sldId="2141411750"/>
        </pc:sldMkLst>
        <pc:spChg chg="add del mod">
          <ac:chgData name="Anna Casanovas Riera" userId="19b4df69-51d1-477c-9849-6339011cbe4d" providerId="ADAL" clId="{82A58446-F25B-4A7F-B286-BE8D441AAF9F}" dt="2022-12-21T10:24:05.433" v="612" actId="478"/>
          <ac:spMkLst>
            <pc:docMk/>
            <pc:sldMk cId="1369666477" sldId="2141411750"/>
            <ac:spMk id="10" creationId="{F084DB3C-D1A6-4984-A592-C1CD6389E0AF}"/>
          </ac:spMkLst>
        </pc:spChg>
        <pc:grpChg chg="add del mod">
          <ac:chgData name="Anna Casanovas Riera" userId="19b4df69-51d1-477c-9849-6339011cbe4d" providerId="ADAL" clId="{82A58446-F25B-4A7F-B286-BE8D441AAF9F}" dt="2022-12-21T10:24:02.061" v="611" actId="14100"/>
          <ac:grpSpMkLst>
            <pc:docMk/>
            <pc:sldMk cId="1369666477" sldId="2141411750"/>
            <ac:grpSpMk id="14" creationId="{804C32CD-1DB7-4B6A-B416-A4650C0A8B79}"/>
          </ac:grpSpMkLst>
        </pc:grpChg>
        <pc:picChg chg="mod topLvl">
          <ac:chgData name="Anna Casanovas Riera" userId="19b4df69-51d1-477c-9849-6339011cbe4d" providerId="ADAL" clId="{82A58446-F25B-4A7F-B286-BE8D441AAF9F}" dt="2022-12-21T10:24:00.409" v="608" actId="165"/>
          <ac:picMkLst>
            <pc:docMk/>
            <pc:sldMk cId="1369666477" sldId="2141411750"/>
            <ac:picMk id="6" creationId="{E9F15FA2-CD47-489D-8EC5-0526F715B086}"/>
          </ac:picMkLst>
        </pc:picChg>
        <pc:picChg chg="mod topLvl">
          <ac:chgData name="Anna Casanovas Riera" userId="19b4df69-51d1-477c-9849-6339011cbe4d" providerId="ADAL" clId="{82A58446-F25B-4A7F-B286-BE8D441AAF9F}" dt="2022-12-21T10:24:00.409" v="608" actId="165"/>
          <ac:picMkLst>
            <pc:docMk/>
            <pc:sldMk cId="1369666477" sldId="2141411750"/>
            <ac:picMk id="12" creationId="{42626C16-F99F-4287-AEA3-78BB2DAB3523}"/>
          </ac:picMkLst>
        </pc:picChg>
        <pc:picChg chg="mod topLvl">
          <ac:chgData name="Anna Casanovas Riera" userId="19b4df69-51d1-477c-9849-6339011cbe4d" providerId="ADAL" clId="{82A58446-F25B-4A7F-B286-BE8D441AAF9F}" dt="2022-12-21T10:24:00.409" v="608" actId="165"/>
          <ac:picMkLst>
            <pc:docMk/>
            <pc:sldMk cId="1369666477" sldId="2141411750"/>
            <ac:picMk id="32" creationId="{A5F521DE-F617-451A-8244-B67824534E37}"/>
          </ac:picMkLst>
        </pc:picChg>
      </pc:sldChg>
      <pc:sldChg chg="modSp mod">
        <pc:chgData name="Anna Casanovas Riera" userId="19b4df69-51d1-477c-9849-6339011cbe4d" providerId="ADAL" clId="{82A58446-F25B-4A7F-B286-BE8D441AAF9F}" dt="2022-12-21T10:24:13.227" v="625" actId="114"/>
        <pc:sldMkLst>
          <pc:docMk/>
          <pc:sldMk cId="2323658663" sldId="2141411751"/>
        </pc:sldMkLst>
        <pc:spChg chg="mod">
          <ac:chgData name="Anna Casanovas Riera" userId="19b4df69-51d1-477c-9849-6339011cbe4d" providerId="ADAL" clId="{82A58446-F25B-4A7F-B286-BE8D441AAF9F}" dt="2022-12-21T10:24:13.227" v="625" actId="114"/>
          <ac:spMkLst>
            <pc:docMk/>
            <pc:sldMk cId="2323658663" sldId="2141411751"/>
            <ac:spMk id="2" creationId="{CA143CEC-18B5-4B6C-BDAF-C5492BA2D4DB}"/>
          </ac:spMkLst>
        </pc:spChg>
      </pc:sldChg>
      <pc:sldChg chg="modSp mod">
        <pc:chgData name="Anna Casanovas Riera" userId="19b4df69-51d1-477c-9849-6339011cbe4d" providerId="ADAL" clId="{82A58446-F25B-4A7F-B286-BE8D441AAF9F}" dt="2022-12-21T11:30:57.770" v="1332" actId="555"/>
        <pc:sldMkLst>
          <pc:docMk/>
          <pc:sldMk cId="2622859620" sldId="2141411752"/>
        </pc:sldMkLst>
        <pc:spChg chg="mod">
          <ac:chgData name="Anna Casanovas Riera" userId="19b4df69-51d1-477c-9849-6339011cbe4d" providerId="ADAL" clId="{82A58446-F25B-4A7F-B286-BE8D441AAF9F}" dt="2022-12-21T11:30:57.770" v="1332" actId="555"/>
          <ac:spMkLst>
            <pc:docMk/>
            <pc:sldMk cId="2622859620" sldId="2141411752"/>
            <ac:spMk id="45" creationId="{167D004C-50EC-4913-B7DE-93A84B7AEB5D}"/>
          </ac:spMkLst>
        </pc:spChg>
        <pc:spChg chg="mod">
          <ac:chgData name="Anna Casanovas Riera" userId="19b4df69-51d1-477c-9849-6339011cbe4d" providerId="ADAL" clId="{82A58446-F25B-4A7F-B286-BE8D441AAF9F}" dt="2022-12-21T11:30:57.770" v="1332" actId="555"/>
          <ac:spMkLst>
            <pc:docMk/>
            <pc:sldMk cId="2622859620" sldId="2141411752"/>
            <ac:spMk id="46" creationId="{CDE4FEBB-0D61-48DF-B94C-496428D75DE8}"/>
          </ac:spMkLst>
        </pc:spChg>
        <pc:spChg chg="mod">
          <ac:chgData name="Anna Casanovas Riera" userId="19b4df69-51d1-477c-9849-6339011cbe4d" providerId="ADAL" clId="{82A58446-F25B-4A7F-B286-BE8D441AAF9F}" dt="2022-12-21T11:30:57.770" v="1332" actId="555"/>
          <ac:spMkLst>
            <pc:docMk/>
            <pc:sldMk cId="2622859620" sldId="2141411752"/>
            <ac:spMk id="47" creationId="{908FF70E-74F8-4A81-B424-EB4BFFBD78FD}"/>
          </ac:spMkLst>
        </pc:spChg>
        <pc:picChg chg="mod">
          <ac:chgData name="Anna Casanovas Riera" userId="19b4df69-51d1-477c-9849-6339011cbe4d" providerId="ADAL" clId="{82A58446-F25B-4A7F-B286-BE8D441AAF9F}" dt="2022-12-21T11:30:57.770" v="1332" actId="555"/>
          <ac:picMkLst>
            <pc:docMk/>
            <pc:sldMk cId="2622859620" sldId="2141411752"/>
            <ac:picMk id="34" creationId="{88945E3D-B371-4FD0-B161-F256538AF7A0}"/>
          </ac:picMkLst>
        </pc:picChg>
      </pc:sldChg>
      <pc:sldChg chg="addSp modSp mod">
        <pc:chgData name="Anna Casanovas Riera" userId="19b4df69-51d1-477c-9849-6339011cbe4d" providerId="ADAL" clId="{82A58446-F25B-4A7F-B286-BE8D441AAF9F}" dt="2022-12-21T10:28:34.243" v="785" actId="115"/>
        <pc:sldMkLst>
          <pc:docMk/>
          <pc:sldMk cId="3232048215" sldId="2141411756"/>
        </pc:sldMkLst>
        <pc:spChg chg="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7" creationId="{C97861B0-1D09-426A-BECE-B97F8D3E07F0}"/>
          </ac:spMkLst>
        </pc:spChg>
        <pc:spChg chg="mod">
          <ac:chgData name="Anna Casanovas Riera" userId="19b4df69-51d1-477c-9849-6339011cbe4d" providerId="ADAL" clId="{82A58446-F25B-4A7F-B286-BE8D441AAF9F}" dt="2022-12-21T10:28:34.243" v="785" actId="115"/>
          <ac:spMkLst>
            <pc:docMk/>
            <pc:sldMk cId="3232048215" sldId="2141411756"/>
            <ac:spMk id="9" creationId="{7297080F-04FD-400F-8FAD-0128A4612A10}"/>
          </ac:spMkLst>
        </pc:spChg>
        <pc:spChg chg="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13" creationId="{092CFCC1-3939-4A95-B142-F8474E2D4305}"/>
          </ac:spMkLst>
        </pc:spChg>
        <pc:spChg chg="mod">
          <ac:chgData name="Anna Casanovas Riera" userId="19b4df69-51d1-477c-9849-6339011cbe4d" providerId="ADAL" clId="{82A58446-F25B-4A7F-B286-BE8D441AAF9F}" dt="2022-12-21T10:28:15.599" v="782" actId="113"/>
          <ac:spMkLst>
            <pc:docMk/>
            <pc:sldMk cId="3232048215" sldId="2141411756"/>
            <ac:spMk id="14" creationId="{66924FC8-0DB2-446C-8D0C-0B43B3477820}"/>
          </ac:spMkLst>
        </pc:spChg>
        <pc:spChg chg="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15" creationId="{DC3ADE35-3CE9-4342-8BF9-6CA3976F6424}"/>
          </ac:spMkLst>
        </pc:spChg>
        <pc:spChg chg="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17" creationId="{5A750CE9-1226-414C-A794-78CEAB83DAF6}"/>
          </ac:spMkLst>
        </pc:spChg>
        <pc:spChg chg="add 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18" creationId="{488AB9C0-F527-472C-9D14-38AD8C08134D}"/>
          </ac:spMkLst>
        </pc:spChg>
        <pc:spChg chg="add mod">
          <ac:chgData name="Anna Casanovas Riera" userId="19b4df69-51d1-477c-9849-6339011cbe4d" providerId="ADAL" clId="{82A58446-F25B-4A7F-B286-BE8D441AAF9F}" dt="2022-12-21T10:28:19.405" v="783" actId="113"/>
          <ac:spMkLst>
            <pc:docMk/>
            <pc:sldMk cId="3232048215" sldId="2141411756"/>
            <ac:spMk id="19" creationId="{8FCA0715-6B8F-41B3-8BE0-DC608F597300}"/>
          </ac:spMkLst>
        </pc:spChg>
        <pc:spChg chg="add mod">
          <ac:chgData name="Anna Casanovas Riera" userId="19b4df69-51d1-477c-9849-6339011cbe4d" providerId="ADAL" clId="{82A58446-F25B-4A7F-B286-BE8D441AAF9F}" dt="2022-12-21T10:27:40.360" v="778" actId="164"/>
          <ac:spMkLst>
            <pc:docMk/>
            <pc:sldMk cId="3232048215" sldId="2141411756"/>
            <ac:spMk id="20" creationId="{38E42AD0-28FC-43DB-A2B2-3F7119A8CE2B}"/>
          </ac:spMkLst>
        </pc:spChg>
        <pc:grpChg chg="add mod">
          <ac:chgData name="Anna Casanovas Riera" userId="19b4df69-51d1-477c-9849-6339011cbe4d" providerId="ADAL" clId="{82A58446-F25B-4A7F-B286-BE8D441AAF9F}" dt="2022-12-21T10:27:47.844" v="779" actId="465"/>
          <ac:grpSpMkLst>
            <pc:docMk/>
            <pc:sldMk cId="3232048215" sldId="2141411756"/>
            <ac:grpSpMk id="5" creationId="{8DCFD1B6-021A-45B7-B413-E947420911DE}"/>
          </ac:grpSpMkLst>
        </pc:grpChg>
        <pc:cxnChg chg="add mod">
          <ac:chgData name="Anna Casanovas Riera" userId="19b4df69-51d1-477c-9849-6339011cbe4d" providerId="ADAL" clId="{82A58446-F25B-4A7F-B286-BE8D441AAF9F}" dt="2022-12-21T10:27:52.212" v="780" actId="465"/>
          <ac:cxnSpMkLst>
            <pc:docMk/>
            <pc:sldMk cId="3232048215" sldId="2141411756"/>
            <ac:cxnSpMk id="21" creationId="{1226CC95-6A15-4DDE-B37A-638AF2A6CFF7}"/>
          </ac:cxnSpMkLst>
        </pc:cxnChg>
      </pc:sldChg>
      <pc:sldChg chg="modSp mod">
        <pc:chgData name="Anna Casanovas Riera" userId="19b4df69-51d1-477c-9849-6339011cbe4d" providerId="ADAL" clId="{82A58446-F25B-4A7F-B286-BE8D441AAF9F}" dt="2022-12-21T11:39:29.594" v="1340"/>
        <pc:sldMkLst>
          <pc:docMk/>
          <pc:sldMk cId="3827711440" sldId="2141411757"/>
        </pc:sldMkLst>
        <pc:picChg chg="mod">
          <ac:chgData name="Anna Casanovas Riera" userId="19b4df69-51d1-477c-9849-6339011cbe4d" providerId="ADAL" clId="{82A58446-F25B-4A7F-B286-BE8D441AAF9F}" dt="2022-12-21T11:39:29.594" v="1340"/>
          <ac:picMkLst>
            <pc:docMk/>
            <pc:sldMk cId="3827711440" sldId="2141411757"/>
            <ac:picMk id="9" creationId="{B4BB39BA-697C-4F53-92C6-128FC129B9FB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CB1D67-3592-4ED3-BCCB-2B22280C685C}" type="doc">
      <dgm:prSet loTypeId="urn:microsoft.com/office/officeart/2005/8/layout/cycle2" loCatId="cycle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8F4E9D45-B3D0-455B-8902-23B55207B201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Satisfaction</a:t>
          </a:r>
        </a:p>
      </dgm:t>
    </dgm:pt>
    <dgm:pt modelId="{462B6C30-6E6F-45BF-9A0D-8CCBCA5E2D60}" type="parTrans" cxnId="{9F50D963-400C-408D-8569-5D3B5F421147}">
      <dgm:prSet/>
      <dgm:spPr/>
      <dgm:t>
        <a:bodyPr/>
        <a:lstStyle/>
        <a:p>
          <a:endParaRPr lang="en-GB"/>
        </a:p>
      </dgm:t>
    </dgm:pt>
    <dgm:pt modelId="{89267465-13D6-455F-98BF-B7FCA8FD53D2}" type="sibTrans" cxnId="{9F50D963-400C-408D-8569-5D3B5F421147}">
      <dgm:prSet/>
      <dgm:spPr/>
      <dgm:t>
        <a:bodyPr/>
        <a:lstStyle/>
        <a:p>
          <a:endParaRPr lang="en-GB"/>
        </a:p>
      </dgm:t>
    </dgm:pt>
    <dgm:pt modelId="{1BE150BA-9A3C-48FF-9B66-9F0D6ADA983C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Type of travel</a:t>
          </a:r>
        </a:p>
      </dgm:t>
    </dgm:pt>
    <dgm:pt modelId="{16A60065-33A4-4011-9CEF-8F513AE57F9C}" type="parTrans" cxnId="{803B06CF-7243-4D21-94C7-282C6E0DAE02}">
      <dgm:prSet/>
      <dgm:spPr/>
      <dgm:t>
        <a:bodyPr/>
        <a:lstStyle/>
        <a:p>
          <a:endParaRPr lang="en-GB"/>
        </a:p>
      </dgm:t>
    </dgm:pt>
    <dgm:pt modelId="{4013FCCF-C92A-490F-96AE-45346E54559A}" type="sibTrans" cxnId="{803B06CF-7243-4D21-94C7-282C6E0DAE02}">
      <dgm:prSet/>
      <dgm:spPr/>
      <dgm:t>
        <a:bodyPr/>
        <a:lstStyle/>
        <a:p>
          <a:endParaRPr lang="en-GB"/>
        </a:p>
      </dgm:t>
    </dgm:pt>
    <dgm:pt modelId="{42067A9A-7A5F-407D-8F63-06360C3125BD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Class</a:t>
          </a:r>
        </a:p>
      </dgm:t>
    </dgm:pt>
    <dgm:pt modelId="{367ECE43-6E00-4664-9655-5B888154C031}" type="parTrans" cxnId="{85BC5AAB-5015-4EA4-AD66-2BA3FFCE8A3D}">
      <dgm:prSet/>
      <dgm:spPr/>
      <dgm:t>
        <a:bodyPr/>
        <a:lstStyle/>
        <a:p>
          <a:endParaRPr lang="en-GB"/>
        </a:p>
      </dgm:t>
    </dgm:pt>
    <dgm:pt modelId="{6819FD74-644D-43CC-AAFB-B0AC92380683}" type="sibTrans" cxnId="{85BC5AAB-5015-4EA4-AD66-2BA3FFCE8A3D}">
      <dgm:prSet/>
      <dgm:spPr/>
      <dgm:t>
        <a:bodyPr/>
        <a:lstStyle/>
        <a:p>
          <a:endParaRPr lang="en-GB"/>
        </a:p>
      </dgm:t>
    </dgm:pt>
    <dgm:pt modelId="{27AC6685-7826-4259-A6EA-0479B4E6F1CC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Customer Type</a:t>
          </a:r>
        </a:p>
      </dgm:t>
    </dgm:pt>
    <dgm:pt modelId="{D7BA5225-2BD4-46BD-A4B7-70927C0669A4}" type="parTrans" cxnId="{BD8D61A1-877C-4A5E-8C4A-1AE30B4B8D08}">
      <dgm:prSet/>
      <dgm:spPr/>
      <dgm:t>
        <a:bodyPr/>
        <a:lstStyle/>
        <a:p>
          <a:endParaRPr lang="en-GB"/>
        </a:p>
      </dgm:t>
    </dgm:pt>
    <dgm:pt modelId="{634196BE-7A25-4CD8-902D-FC70BE741F42}" type="sibTrans" cxnId="{BD8D61A1-877C-4A5E-8C4A-1AE30B4B8D08}">
      <dgm:prSet/>
      <dgm:spPr/>
      <dgm:t>
        <a:bodyPr/>
        <a:lstStyle/>
        <a:p>
          <a:endParaRPr lang="en-GB"/>
        </a:p>
      </dgm:t>
    </dgm:pt>
    <dgm:pt modelId="{4F0640C9-E835-4BC7-8852-A823E004FF0E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Gender</a:t>
          </a:r>
        </a:p>
      </dgm:t>
    </dgm:pt>
    <dgm:pt modelId="{AA98D740-ADCD-4396-836E-8FAB18E69701}" type="parTrans" cxnId="{820A854B-952F-4CB5-ADD6-AEB7C545BA6D}">
      <dgm:prSet/>
      <dgm:spPr/>
      <dgm:t>
        <a:bodyPr/>
        <a:lstStyle/>
        <a:p>
          <a:endParaRPr lang="en-GB"/>
        </a:p>
      </dgm:t>
    </dgm:pt>
    <dgm:pt modelId="{073A6A7D-2609-41C3-BA97-6D4593485B96}" type="sibTrans" cxnId="{820A854B-952F-4CB5-ADD6-AEB7C545BA6D}">
      <dgm:prSet/>
      <dgm:spPr/>
      <dgm:t>
        <a:bodyPr/>
        <a:lstStyle/>
        <a:p>
          <a:endParaRPr lang="en-GB"/>
        </a:p>
      </dgm:t>
    </dgm:pt>
    <dgm:pt modelId="{2641294A-C3AB-452C-8BA6-5B0589B893E2}" type="pres">
      <dgm:prSet presAssocID="{FDCB1D67-3592-4ED3-BCCB-2B22280C685C}" presName="cycle" presStyleCnt="0">
        <dgm:presLayoutVars>
          <dgm:dir/>
          <dgm:resizeHandles val="exact"/>
        </dgm:presLayoutVars>
      </dgm:prSet>
      <dgm:spPr/>
    </dgm:pt>
    <dgm:pt modelId="{98FA36C3-D171-4CDD-8628-DA4403C3B1C1}" type="pres">
      <dgm:prSet presAssocID="{8F4E9D45-B3D0-455B-8902-23B55207B201}" presName="node" presStyleLbl="node1" presStyleIdx="0" presStyleCnt="5">
        <dgm:presLayoutVars>
          <dgm:bulletEnabled val="1"/>
        </dgm:presLayoutVars>
      </dgm:prSet>
      <dgm:spPr/>
    </dgm:pt>
    <dgm:pt modelId="{F70E886B-1D82-416C-8008-0255160E20B2}" type="pres">
      <dgm:prSet presAssocID="{89267465-13D6-455F-98BF-B7FCA8FD53D2}" presName="sibTrans" presStyleLbl="sibTrans2D1" presStyleIdx="0" presStyleCnt="5"/>
      <dgm:spPr/>
    </dgm:pt>
    <dgm:pt modelId="{67C682E0-649B-459F-92E5-316DA83E3E76}" type="pres">
      <dgm:prSet presAssocID="{89267465-13D6-455F-98BF-B7FCA8FD53D2}" presName="connectorText" presStyleLbl="sibTrans2D1" presStyleIdx="0" presStyleCnt="5"/>
      <dgm:spPr/>
    </dgm:pt>
    <dgm:pt modelId="{597665A0-DD09-45D7-BC8B-56761F114620}" type="pres">
      <dgm:prSet presAssocID="{1BE150BA-9A3C-48FF-9B66-9F0D6ADA983C}" presName="node" presStyleLbl="node1" presStyleIdx="1" presStyleCnt="5">
        <dgm:presLayoutVars>
          <dgm:bulletEnabled val="1"/>
        </dgm:presLayoutVars>
      </dgm:prSet>
      <dgm:spPr/>
    </dgm:pt>
    <dgm:pt modelId="{16EFF4E7-10FF-4FBB-8118-069DACC97BA2}" type="pres">
      <dgm:prSet presAssocID="{4013FCCF-C92A-490F-96AE-45346E54559A}" presName="sibTrans" presStyleLbl="sibTrans2D1" presStyleIdx="1" presStyleCnt="5"/>
      <dgm:spPr/>
    </dgm:pt>
    <dgm:pt modelId="{05938111-47D7-403F-B6F4-03BBC90B9055}" type="pres">
      <dgm:prSet presAssocID="{4013FCCF-C92A-490F-96AE-45346E54559A}" presName="connectorText" presStyleLbl="sibTrans2D1" presStyleIdx="1" presStyleCnt="5"/>
      <dgm:spPr/>
    </dgm:pt>
    <dgm:pt modelId="{CC89F258-64F3-4AF5-85A1-66902F27B530}" type="pres">
      <dgm:prSet presAssocID="{42067A9A-7A5F-407D-8F63-06360C3125BD}" presName="node" presStyleLbl="node1" presStyleIdx="2" presStyleCnt="5">
        <dgm:presLayoutVars>
          <dgm:bulletEnabled val="1"/>
        </dgm:presLayoutVars>
      </dgm:prSet>
      <dgm:spPr/>
    </dgm:pt>
    <dgm:pt modelId="{ADFD09D2-9086-458F-B3F8-33370A2D8BFC}" type="pres">
      <dgm:prSet presAssocID="{6819FD74-644D-43CC-AAFB-B0AC92380683}" presName="sibTrans" presStyleLbl="sibTrans2D1" presStyleIdx="2" presStyleCnt="5"/>
      <dgm:spPr/>
    </dgm:pt>
    <dgm:pt modelId="{8EA07476-7C5B-4915-BEE5-B1DB74B860D1}" type="pres">
      <dgm:prSet presAssocID="{6819FD74-644D-43CC-AAFB-B0AC92380683}" presName="connectorText" presStyleLbl="sibTrans2D1" presStyleIdx="2" presStyleCnt="5"/>
      <dgm:spPr/>
    </dgm:pt>
    <dgm:pt modelId="{1AEE4245-BFBE-4A0D-B599-E3D82D3FDC09}" type="pres">
      <dgm:prSet presAssocID="{27AC6685-7826-4259-A6EA-0479B4E6F1CC}" presName="node" presStyleLbl="node1" presStyleIdx="3" presStyleCnt="5">
        <dgm:presLayoutVars>
          <dgm:bulletEnabled val="1"/>
        </dgm:presLayoutVars>
      </dgm:prSet>
      <dgm:spPr/>
    </dgm:pt>
    <dgm:pt modelId="{30B15D77-BE21-4889-A675-B50CFD1E0927}" type="pres">
      <dgm:prSet presAssocID="{634196BE-7A25-4CD8-902D-FC70BE741F42}" presName="sibTrans" presStyleLbl="sibTrans2D1" presStyleIdx="3" presStyleCnt="5"/>
      <dgm:spPr/>
    </dgm:pt>
    <dgm:pt modelId="{4FDFADE9-5D3E-4F40-93E6-85B5272B6317}" type="pres">
      <dgm:prSet presAssocID="{634196BE-7A25-4CD8-902D-FC70BE741F42}" presName="connectorText" presStyleLbl="sibTrans2D1" presStyleIdx="3" presStyleCnt="5"/>
      <dgm:spPr/>
    </dgm:pt>
    <dgm:pt modelId="{83A4E9C0-8415-44B6-8774-61994D6C3F68}" type="pres">
      <dgm:prSet presAssocID="{4F0640C9-E835-4BC7-8852-A823E004FF0E}" presName="node" presStyleLbl="node1" presStyleIdx="4" presStyleCnt="5">
        <dgm:presLayoutVars>
          <dgm:bulletEnabled val="1"/>
        </dgm:presLayoutVars>
      </dgm:prSet>
      <dgm:spPr/>
    </dgm:pt>
    <dgm:pt modelId="{7619D44B-F0C8-44BE-BE60-C00D0C16C56D}" type="pres">
      <dgm:prSet presAssocID="{073A6A7D-2609-41C3-BA97-6D4593485B96}" presName="sibTrans" presStyleLbl="sibTrans2D1" presStyleIdx="4" presStyleCnt="5"/>
      <dgm:spPr/>
    </dgm:pt>
    <dgm:pt modelId="{2627B9CF-58B9-4795-A315-4862371767CB}" type="pres">
      <dgm:prSet presAssocID="{073A6A7D-2609-41C3-BA97-6D4593485B96}" presName="connectorText" presStyleLbl="sibTrans2D1" presStyleIdx="4" presStyleCnt="5"/>
      <dgm:spPr/>
    </dgm:pt>
  </dgm:ptLst>
  <dgm:cxnLst>
    <dgm:cxn modelId="{0CF9D800-275C-46BC-8D91-174B5F78C756}" type="presOf" srcId="{073A6A7D-2609-41C3-BA97-6D4593485B96}" destId="{2627B9CF-58B9-4795-A315-4862371767CB}" srcOrd="1" destOrd="0" presId="urn:microsoft.com/office/officeart/2005/8/layout/cycle2"/>
    <dgm:cxn modelId="{14743412-095C-43A4-8604-8B3B973801C1}" type="presOf" srcId="{27AC6685-7826-4259-A6EA-0479B4E6F1CC}" destId="{1AEE4245-BFBE-4A0D-B599-E3D82D3FDC09}" srcOrd="0" destOrd="0" presId="urn:microsoft.com/office/officeart/2005/8/layout/cycle2"/>
    <dgm:cxn modelId="{536B921D-5FB3-4E3E-9A1A-6548BCD5B0AC}" type="presOf" srcId="{1BE150BA-9A3C-48FF-9B66-9F0D6ADA983C}" destId="{597665A0-DD09-45D7-BC8B-56761F114620}" srcOrd="0" destOrd="0" presId="urn:microsoft.com/office/officeart/2005/8/layout/cycle2"/>
    <dgm:cxn modelId="{42CEC11F-83B7-4DA1-B839-8957D12FD1BA}" type="presOf" srcId="{6819FD74-644D-43CC-AAFB-B0AC92380683}" destId="{8EA07476-7C5B-4915-BEE5-B1DB74B860D1}" srcOrd="1" destOrd="0" presId="urn:microsoft.com/office/officeart/2005/8/layout/cycle2"/>
    <dgm:cxn modelId="{3463EA2F-23B7-4399-8970-3525609F9E57}" type="presOf" srcId="{6819FD74-644D-43CC-AAFB-B0AC92380683}" destId="{ADFD09D2-9086-458F-B3F8-33370A2D8BFC}" srcOrd="0" destOrd="0" presId="urn:microsoft.com/office/officeart/2005/8/layout/cycle2"/>
    <dgm:cxn modelId="{67228B3A-1DFA-429A-85A5-42AB6BBAAE5A}" type="presOf" srcId="{4013FCCF-C92A-490F-96AE-45346E54559A}" destId="{16EFF4E7-10FF-4FBB-8118-069DACC97BA2}" srcOrd="0" destOrd="0" presId="urn:microsoft.com/office/officeart/2005/8/layout/cycle2"/>
    <dgm:cxn modelId="{9F50D963-400C-408D-8569-5D3B5F421147}" srcId="{FDCB1D67-3592-4ED3-BCCB-2B22280C685C}" destId="{8F4E9D45-B3D0-455B-8902-23B55207B201}" srcOrd="0" destOrd="0" parTransId="{462B6C30-6E6F-45BF-9A0D-8CCBCA5E2D60}" sibTransId="{89267465-13D6-455F-98BF-B7FCA8FD53D2}"/>
    <dgm:cxn modelId="{A7D2EF46-E604-4B82-B9D1-77E64B3B5379}" type="presOf" srcId="{8F4E9D45-B3D0-455B-8902-23B55207B201}" destId="{98FA36C3-D171-4CDD-8628-DA4403C3B1C1}" srcOrd="0" destOrd="0" presId="urn:microsoft.com/office/officeart/2005/8/layout/cycle2"/>
    <dgm:cxn modelId="{820A854B-952F-4CB5-ADD6-AEB7C545BA6D}" srcId="{FDCB1D67-3592-4ED3-BCCB-2B22280C685C}" destId="{4F0640C9-E835-4BC7-8852-A823E004FF0E}" srcOrd="4" destOrd="0" parTransId="{AA98D740-ADCD-4396-836E-8FAB18E69701}" sibTransId="{073A6A7D-2609-41C3-BA97-6D4593485B96}"/>
    <dgm:cxn modelId="{23C57B54-DAD6-4CA7-9766-FBFC382A7B15}" type="presOf" srcId="{89267465-13D6-455F-98BF-B7FCA8FD53D2}" destId="{67C682E0-649B-459F-92E5-316DA83E3E76}" srcOrd="1" destOrd="0" presId="urn:microsoft.com/office/officeart/2005/8/layout/cycle2"/>
    <dgm:cxn modelId="{AAF5CC56-6FB6-432B-8033-E9C49A4730CB}" type="presOf" srcId="{FDCB1D67-3592-4ED3-BCCB-2B22280C685C}" destId="{2641294A-C3AB-452C-8BA6-5B0589B893E2}" srcOrd="0" destOrd="0" presId="urn:microsoft.com/office/officeart/2005/8/layout/cycle2"/>
    <dgm:cxn modelId="{8609FC7C-ABAF-48CA-BC70-2FE7706A76F6}" type="presOf" srcId="{89267465-13D6-455F-98BF-B7FCA8FD53D2}" destId="{F70E886B-1D82-416C-8008-0255160E20B2}" srcOrd="0" destOrd="0" presId="urn:microsoft.com/office/officeart/2005/8/layout/cycle2"/>
    <dgm:cxn modelId="{7AE81183-25CD-447E-BCA6-090814847C91}" type="presOf" srcId="{634196BE-7A25-4CD8-902D-FC70BE741F42}" destId="{30B15D77-BE21-4889-A675-B50CFD1E0927}" srcOrd="0" destOrd="0" presId="urn:microsoft.com/office/officeart/2005/8/layout/cycle2"/>
    <dgm:cxn modelId="{EA44FB8B-6077-463D-9964-547A97F67110}" type="presOf" srcId="{634196BE-7A25-4CD8-902D-FC70BE741F42}" destId="{4FDFADE9-5D3E-4F40-93E6-85B5272B6317}" srcOrd="1" destOrd="0" presId="urn:microsoft.com/office/officeart/2005/8/layout/cycle2"/>
    <dgm:cxn modelId="{00AD799B-3B9C-43E8-92F9-61E2856639D8}" type="presOf" srcId="{073A6A7D-2609-41C3-BA97-6D4593485B96}" destId="{7619D44B-F0C8-44BE-BE60-C00D0C16C56D}" srcOrd="0" destOrd="0" presId="urn:microsoft.com/office/officeart/2005/8/layout/cycle2"/>
    <dgm:cxn modelId="{BD8D61A1-877C-4A5E-8C4A-1AE30B4B8D08}" srcId="{FDCB1D67-3592-4ED3-BCCB-2B22280C685C}" destId="{27AC6685-7826-4259-A6EA-0479B4E6F1CC}" srcOrd="3" destOrd="0" parTransId="{D7BA5225-2BD4-46BD-A4B7-70927C0669A4}" sibTransId="{634196BE-7A25-4CD8-902D-FC70BE741F42}"/>
    <dgm:cxn modelId="{85BC5AAB-5015-4EA4-AD66-2BA3FFCE8A3D}" srcId="{FDCB1D67-3592-4ED3-BCCB-2B22280C685C}" destId="{42067A9A-7A5F-407D-8F63-06360C3125BD}" srcOrd="2" destOrd="0" parTransId="{367ECE43-6E00-4664-9655-5B888154C031}" sibTransId="{6819FD74-644D-43CC-AAFB-B0AC92380683}"/>
    <dgm:cxn modelId="{C78308C0-EB27-4E09-85BD-85D5BB2FD526}" type="presOf" srcId="{42067A9A-7A5F-407D-8F63-06360C3125BD}" destId="{CC89F258-64F3-4AF5-85A1-66902F27B530}" srcOrd="0" destOrd="0" presId="urn:microsoft.com/office/officeart/2005/8/layout/cycle2"/>
    <dgm:cxn modelId="{803B06CF-7243-4D21-94C7-282C6E0DAE02}" srcId="{FDCB1D67-3592-4ED3-BCCB-2B22280C685C}" destId="{1BE150BA-9A3C-48FF-9B66-9F0D6ADA983C}" srcOrd="1" destOrd="0" parTransId="{16A60065-33A4-4011-9CEF-8F513AE57F9C}" sibTransId="{4013FCCF-C92A-490F-96AE-45346E54559A}"/>
    <dgm:cxn modelId="{54679AE0-AAC3-4797-A95A-3DC583289CCE}" type="presOf" srcId="{4013FCCF-C92A-490F-96AE-45346E54559A}" destId="{05938111-47D7-403F-B6F4-03BBC90B9055}" srcOrd="1" destOrd="0" presId="urn:microsoft.com/office/officeart/2005/8/layout/cycle2"/>
    <dgm:cxn modelId="{80E606F6-7F1F-4F42-B517-641C957D529D}" type="presOf" srcId="{4F0640C9-E835-4BC7-8852-A823E004FF0E}" destId="{83A4E9C0-8415-44B6-8774-61994D6C3F68}" srcOrd="0" destOrd="0" presId="urn:microsoft.com/office/officeart/2005/8/layout/cycle2"/>
    <dgm:cxn modelId="{E0F223E1-8092-4579-9D36-1F9CD04ADD76}" type="presParOf" srcId="{2641294A-C3AB-452C-8BA6-5B0589B893E2}" destId="{98FA36C3-D171-4CDD-8628-DA4403C3B1C1}" srcOrd="0" destOrd="0" presId="urn:microsoft.com/office/officeart/2005/8/layout/cycle2"/>
    <dgm:cxn modelId="{209F3817-4AAD-404A-8708-B895003D194F}" type="presParOf" srcId="{2641294A-C3AB-452C-8BA6-5B0589B893E2}" destId="{F70E886B-1D82-416C-8008-0255160E20B2}" srcOrd="1" destOrd="0" presId="urn:microsoft.com/office/officeart/2005/8/layout/cycle2"/>
    <dgm:cxn modelId="{4E79740C-B6D1-4543-8C44-ECE06BC72040}" type="presParOf" srcId="{F70E886B-1D82-416C-8008-0255160E20B2}" destId="{67C682E0-649B-459F-92E5-316DA83E3E76}" srcOrd="0" destOrd="0" presId="urn:microsoft.com/office/officeart/2005/8/layout/cycle2"/>
    <dgm:cxn modelId="{632AA7A7-E163-4CEB-B6D8-9749C2337428}" type="presParOf" srcId="{2641294A-C3AB-452C-8BA6-5B0589B893E2}" destId="{597665A0-DD09-45D7-BC8B-56761F114620}" srcOrd="2" destOrd="0" presId="urn:microsoft.com/office/officeart/2005/8/layout/cycle2"/>
    <dgm:cxn modelId="{534E1D63-464F-4020-AD2A-DAD642780D38}" type="presParOf" srcId="{2641294A-C3AB-452C-8BA6-5B0589B893E2}" destId="{16EFF4E7-10FF-4FBB-8118-069DACC97BA2}" srcOrd="3" destOrd="0" presId="urn:microsoft.com/office/officeart/2005/8/layout/cycle2"/>
    <dgm:cxn modelId="{ED1612C9-CC5D-4268-9500-9596FCDF6195}" type="presParOf" srcId="{16EFF4E7-10FF-4FBB-8118-069DACC97BA2}" destId="{05938111-47D7-403F-B6F4-03BBC90B9055}" srcOrd="0" destOrd="0" presId="urn:microsoft.com/office/officeart/2005/8/layout/cycle2"/>
    <dgm:cxn modelId="{42448115-92C5-4DA3-8C26-9AEE91E627E9}" type="presParOf" srcId="{2641294A-C3AB-452C-8BA6-5B0589B893E2}" destId="{CC89F258-64F3-4AF5-85A1-66902F27B530}" srcOrd="4" destOrd="0" presId="urn:microsoft.com/office/officeart/2005/8/layout/cycle2"/>
    <dgm:cxn modelId="{FF5CB0E1-553E-467E-9D84-68842BC45344}" type="presParOf" srcId="{2641294A-C3AB-452C-8BA6-5B0589B893E2}" destId="{ADFD09D2-9086-458F-B3F8-33370A2D8BFC}" srcOrd="5" destOrd="0" presId="urn:microsoft.com/office/officeart/2005/8/layout/cycle2"/>
    <dgm:cxn modelId="{1289B71D-82D7-4429-B8DD-8BA4E6684278}" type="presParOf" srcId="{ADFD09D2-9086-458F-B3F8-33370A2D8BFC}" destId="{8EA07476-7C5B-4915-BEE5-B1DB74B860D1}" srcOrd="0" destOrd="0" presId="urn:microsoft.com/office/officeart/2005/8/layout/cycle2"/>
    <dgm:cxn modelId="{5E0B9191-7353-498B-A58B-4FFC4DB87D66}" type="presParOf" srcId="{2641294A-C3AB-452C-8BA6-5B0589B893E2}" destId="{1AEE4245-BFBE-4A0D-B599-E3D82D3FDC09}" srcOrd="6" destOrd="0" presId="urn:microsoft.com/office/officeart/2005/8/layout/cycle2"/>
    <dgm:cxn modelId="{08C0969E-D0E4-435D-B1B1-E61A099B4AF6}" type="presParOf" srcId="{2641294A-C3AB-452C-8BA6-5B0589B893E2}" destId="{30B15D77-BE21-4889-A675-B50CFD1E0927}" srcOrd="7" destOrd="0" presId="urn:microsoft.com/office/officeart/2005/8/layout/cycle2"/>
    <dgm:cxn modelId="{7D65CF91-32AB-4E2D-949E-B04B7F23F225}" type="presParOf" srcId="{30B15D77-BE21-4889-A675-B50CFD1E0927}" destId="{4FDFADE9-5D3E-4F40-93E6-85B5272B6317}" srcOrd="0" destOrd="0" presId="urn:microsoft.com/office/officeart/2005/8/layout/cycle2"/>
    <dgm:cxn modelId="{922B5DFE-6465-4371-B9F0-58C35C4FEAA2}" type="presParOf" srcId="{2641294A-C3AB-452C-8BA6-5B0589B893E2}" destId="{83A4E9C0-8415-44B6-8774-61994D6C3F68}" srcOrd="8" destOrd="0" presId="urn:microsoft.com/office/officeart/2005/8/layout/cycle2"/>
    <dgm:cxn modelId="{73526D8B-8FA1-4D0A-8B1D-CABE89BDBE99}" type="presParOf" srcId="{2641294A-C3AB-452C-8BA6-5B0589B893E2}" destId="{7619D44B-F0C8-44BE-BE60-C00D0C16C56D}" srcOrd="9" destOrd="0" presId="urn:microsoft.com/office/officeart/2005/8/layout/cycle2"/>
    <dgm:cxn modelId="{0B2006C6-1D92-419E-8385-0F80C82F2577}" type="presParOf" srcId="{7619D44B-F0C8-44BE-BE60-C00D0C16C56D}" destId="{2627B9CF-58B9-4795-A315-4862371767CB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CB1D67-3592-4ED3-BCCB-2B22280C685C}" type="doc">
      <dgm:prSet loTypeId="urn:microsoft.com/office/officeart/2005/8/layout/bProcess4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1BE150BA-9A3C-48FF-9B66-9F0D6ADA983C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Departure/Arrival time convenient</a:t>
          </a:r>
        </a:p>
      </dgm:t>
    </dgm:pt>
    <dgm:pt modelId="{16A60065-33A4-4011-9CEF-8F513AE57F9C}" type="parTrans" cxnId="{803B06CF-7243-4D21-94C7-282C6E0DAE02}">
      <dgm:prSet/>
      <dgm:spPr/>
      <dgm:t>
        <a:bodyPr/>
        <a:lstStyle/>
        <a:p>
          <a:endParaRPr lang="en-GB"/>
        </a:p>
      </dgm:t>
    </dgm:pt>
    <dgm:pt modelId="{4013FCCF-C92A-490F-96AE-45346E54559A}" type="sibTrans" cxnId="{803B06CF-7243-4D21-94C7-282C6E0DAE02}">
      <dgm:prSet/>
      <dgm:spPr/>
      <dgm:t>
        <a:bodyPr/>
        <a:lstStyle/>
        <a:p>
          <a:endParaRPr lang="en-GB"/>
        </a:p>
      </dgm:t>
    </dgm:pt>
    <dgm:pt modelId="{42067A9A-7A5F-407D-8F63-06360C3125BD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Inflight </a:t>
          </a:r>
          <a:r>
            <a:rPr lang="en-GB" b="1" dirty="0" err="1">
              <a:solidFill>
                <a:schemeClr val="tx2"/>
              </a:solidFill>
            </a:rPr>
            <a:t>wifi</a:t>
          </a:r>
          <a:r>
            <a:rPr lang="en-GB" b="1" dirty="0">
              <a:solidFill>
                <a:schemeClr val="tx2"/>
              </a:solidFill>
            </a:rPr>
            <a:t> service</a:t>
          </a:r>
        </a:p>
      </dgm:t>
    </dgm:pt>
    <dgm:pt modelId="{367ECE43-6E00-4664-9655-5B888154C031}" type="parTrans" cxnId="{85BC5AAB-5015-4EA4-AD66-2BA3FFCE8A3D}">
      <dgm:prSet/>
      <dgm:spPr/>
      <dgm:t>
        <a:bodyPr/>
        <a:lstStyle/>
        <a:p>
          <a:endParaRPr lang="en-GB"/>
        </a:p>
      </dgm:t>
    </dgm:pt>
    <dgm:pt modelId="{6819FD74-644D-43CC-AAFB-B0AC92380683}" type="sibTrans" cxnId="{85BC5AAB-5015-4EA4-AD66-2BA3FFCE8A3D}">
      <dgm:prSet/>
      <dgm:spPr/>
      <dgm:t>
        <a:bodyPr/>
        <a:lstStyle/>
        <a:p>
          <a:endParaRPr lang="en-GB"/>
        </a:p>
      </dgm:t>
    </dgm:pt>
    <dgm:pt modelId="{27AC6685-7826-4259-A6EA-0479B4E6F1CC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Ease of online booking</a:t>
          </a:r>
        </a:p>
      </dgm:t>
    </dgm:pt>
    <dgm:pt modelId="{D7BA5225-2BD4-46BD-A4B7-70927C0669A4}" type="parTrans" cxnId="{BD8D61A1-877C-4A5E-8C4A-1AE30B4B8D08}">
      <dgm:prSet/>
      <dgm:spPr/>
      <dgm:t>
        <a:bodyPr/>
        <a:lstStyle/>
        <a:p>
          <a:endParaRPr lang="en-GB"/>
        </a:p>
      </dgm:t>
    </dgm:pt>
    <dgm:pt modelId="{634196BE-7A25-4CD8-902D-FC70BE741F42}" type="sibTrans" cxnId="{BD8D61A1-877C-4A5E-8C4A-1AE30B4B8D08}">
      <dgm:prSet/>
      <dgm:spPr/>
      <dgm:t>
        <a:bodyPr/>
        <a:lstStyle/>
        <a:p>
          <a:endParaRPr lang="en-GB"/>
        </a:p>
      </dgm:t>
    </dgm:pt>
    <dgm:pt modelId="{4F0640C9-E835-4BC7-8852-A823E004FF0E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Gate location</a:t>
          </a:r>
        </a:p>
      </dgm:t>
    </dgm:pt>
    <dgm:pt modelId="{AA98D740-ADCD-4396-836E-8FAB18E69701}" type="parTrans" cxnId="{820A854B-952F-4CB5-ADD6-AEB7C545BA6D}">
      <dgm:prSet/>
      <dgm:spPr/>
      <dgm:t>
        <a:bodyPr/>
        <a:lstStyle/>
        <a:p>
          <a:endParaRPr lang="en-GB"/>
        </a:p>
      </dgm:t>
    </dgm:pt>
    <dgm:pt modelId="{073A6A7D-2609-41C3-BA97-6D4593485B96}" type="sibTrans" cxnId="{820A854B-952F-4CB5-ADD6-AEB7C545BA6D}">
      <dgm:prSet/>
      <dgm:spPr/>
      <dgm:t>
        <a:bodyPr/>
        <a:lstStyle/>
        <a:p>
          <a:endParaRPr lang="en-GB"/>
        </a:p>
      </dgm:t>
    </dgm:pt>
    <dgm:pt modelId="{9554756D-D526-4F1F-8184-A29EC57198B8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Food and drink</a:t>
          </a:r>
        </a:p>
      </dgm:t>
    </dgm:pt>
    <dgm:pt modelId="{26B7EDF1-E803-4410-AD01-4B60ED8737A8}" type="parTrans" cxnId="{59A3EBD9-1F14-47AC-8771-E77D5090B610}">
      <dgm:prSet/>
      <dgm:spPr/>
      <dgm:t>
        <a:bodyPr/>
        <a:lstStyle/>
        <a:p>
          <a:endParaRPr lang="en-GB"/>
        </a:p>
      </dgm:t>
    </dgm:pt>
    <dgm:pt modelId="{3AA728A8-AEB6-405B-A335-E46083387E73}" type="sibTrans" cxnId="{59A3EBD9-1F14-47AC-8771-E77D5090B610}">
      <dgm:prSet/>
      <dgm:spPr/>
      <dgm:t>
        <a:bodyPr/>
        <a:lstStyle/>
        <a:p>
          <a:endParaRPr lang="en-GB"/>
        </a:p>
      </dgm:t>
    </dgm:pt>
    <dgm:pt modelId="{1664B33B-9A40-490D-A16F-9D88C8000B41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Online boarding</a:t>
          </a:r>
        </a:p>
      </dgm:t>
    </dgm:pt>
    <dgm:pt modelId="{7B91234F-67D4-4E5E-A31C-7A5870E08436}" type="parTrans" cxnId="{1E2192E7-6EE5-45D9-BBFF-618CC4D50431}">
      <dgm:prSet/>
      <dgm:spPr/>
      <dgm:t>
        <a:bodyPr/>
        <a:lstStyle/>
        <a:p>
          <a:endParaRPr lang="en-GB"/>
        </a:p>
      </dgm:t>
    </dgm:pt>
    <dgm:pt modelId="{38DBACB0-FCC1-4B00-A597-80AAD80C3A9A}" type="sibTrans" cxnId="{1E2192E7-6EE5-45D9-BBFF-618CC4D50431}">
      <dgm:prSet/>
      <dgm:spPr/>
      <dgm:t>
        <a:bodyPr/>
        <a:lstStyle/>
        <a:p>
          <a:endParaRPr lang="en-GB"/>
        </a:p>
      </dgm:t>
    </dgm:pt>
    <dgm:pt modelId="{23F5FC88-59F4-40AD-BCED-D0D5A39EC995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Seat comfort</a:t>
          </a:r>
        </a:p>
      </dgm:t>
    </dgm:pt>
    <dgm:pt modelId="{F8D3969D-DCC7-4B8B-AB23-B00887A1BE5F}" type="parTrans" cxnId="{2E984352-320C-4663-8583-204FB0975A82}">
      <dgm:prSet/>
      <dgm:spPr/>
      <dgm:t>
        <a:bodyPr/>
        <a:lstStyle/>
        <a:p>
          <a:endParaRPr lang="en-GB"/>
        </a:p>
      </dgm:t>
    </dgm:pt>
    <dgm:pt modelId="{B5005FC2-40F0-418A-90D7-AD629B76C931}" type="sibTrans" cxnId="{2E984352-320C-4663-8583-204FB0975A82}">
      <dgm:prSet/>
      <dgm:spPr/>
      <dgm:t>
        <a:bodyPr/>
        <a:lstStyle/>
        <a:p>
          <a:endParaRPr lang="en-GB"/>
        </a:p>
      </dgm:t>
    </dgm:pt>
    <dgm:pt modelId="{2D161711-3B67-4CBC-AFC0-C613C0B7A639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Inflight entertainment</a:t>
          </a:r>
        </a:p>
      </dgm:t>
    </dgm:pt>
    <dgm:pt modelId="{2A070095-F03B-4E21-8F9C-1D360ADCCAF3}" type="parTrans" cxnId="{CDAC975D-6FB5-4A3F-9BDA-2AC2A00607EB}">
      <dgm:prSet/>
      <dgm:spPr/>
      <dgm:t>
        <a:bodyPr/>
        <a:lstStyle/>
        <a:p>
          <a:endParaRPr lang="en-GB"/>
        </a:p>
      </dgm:t>
    </dgm:pt>
    <dgm:pt modelId="{E71EAE73-C9BE-4C54-9D53-852ECEA78573}" type="sibTrans" cxnId="{CDAC975D-6FB5-4A3F-9BDA-2AC2A00607EB}">
      <dgm:prSet/>
      <dgm:spPr/>
      <dgm:t>
        <a:bodyPr/>
        <a:lstStyle/>
        <a:p>
          <a:endParaRPr lang="en-GB"/>
        </a:p>
      </dgm:t>
    </dgm:pt>
    <dgm:pt modelId="{5250169E-0240-49A8-A2AD-3EBA9C229303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On-board service</a:t>
          </a:r>
        </a:p>
      </dgm:t>
    </dgm:pt>
    <dgm:pt modelId="{F374D713-AA56-4E1F-B420-5783855F0FD3}" type="parTrans" cxnId="{D4157B63-9C44-4231-983F-505D2C90E2AC}">
      <dgm:prSet/>
      <dgm:spPr/>
      <dgm:t>
        <a:bodyPr/>
        <a:lstStyle/>
        <a:p>
          <a:endParaRPr lang="en-GB"/>
        </a:p>
      </dgm:t>
    </dgm:pt>
    <dgm:pt modelId="{4207A6D5-03AA-478E-8815-A1C22809C9AE}" type="sibTrans" cxnId="{D4157B63-9C44-4231-983F-505D2C90E2AC}">
      <dgm:prSet/>
      <dgm:spPr/>
      <dgm:t>
        <a:bodyPr/>
        <a:lstStyle/>
        <a:p>
          <a:endParaRPr lang="en-GB"/>
        </a:p>
      </dgm:t>
    </dgm:pt>
    <dgm:pt modelId="{39D85BCF-5E27-470B-B75A-172F3EA43AA3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Leg room service</a:t>
          </a:r>
        </a:p>
      </dgm:t>
    </dgm:pt>
    <dgm:pt modelId="{13B4A180-1BA3-42DA-B120-17DA997FC8F8}" type="parTrans" cxnId="{4BD2D9B0-F64A-4A4D-9C5E-ECE399FEB200}">
      <dgm:prSet/>
      <dgm:spPr/>
      <dgm:t>
        <a:bodyPr/>
        <a:lstStyle/>
        <a:p>
          <a:endParaRPr lang="en-GB"/>
        </a:p>
      </dgm:t>
    </dgm:pt>
    <dgm:pt modelId="{41BCA160-BFAF-49EB-9338-A7591EB19560}" type="sibTrans" cxnId="{4BD2D9B0-F64A-4A4D-9C5E-ECE399FEB200}">
      <dgm:prSet/>
      <dgm:spPr/>
      <dgm:t>
        <a:bodyPr/>
        <a:lstStyle/>
        <a:p>
          <a:endParaRPr lang="en-GB"/>
        </a:p>
      </dgm:t>
    </dgm:pt>
    <dgm:pt modelId="{43BE2258-202E-484C-BB97-4EB81AB4747E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Baggage handling</a:t>
          </a:r>
        </a:p>
      </dgm:t>
    </dgm:pt>
    <dgm:pt modelId="{7BCF83FD-FA04-471F-915D-D25F73E3D93D}" type="parTrans" cxnId="{3BE32D89-C591-4586-9C75-4AFDC8295B50}">
      <dgm:prSet/>
      <dgm:spPr/>
      <dgm:t>
        <a:bodyPr/>
        <a:lstStyle/>
        <a:p>
          <a:endParaRPr lang="en-GB"/>
        </a:p>
      </dgm:t>
    </dgm:pt>
    <dgm:pt modelId="{BFF2440E-B95E-4AFB-A8CF-0AE3F9E7100F}" type="sibTrans" cxnId="{3BE32D89-C591-4586-9C75-4AFDC8295B50}">
      <dgm:prSet/>
      <dgm:spPr/>
      <dgm:t>
        <a:bodyPr/>
        <a:lstStyle/>
        <a:p>
          <a:endParaRPr lang="en-GB"/>
        </a:p>
      </dgm:t>
    </dgm:pt>
    <dgm:pt modelId="{54757A88-AC37-4F85-8B82-15DA07D9D683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Check-in service</a:t>
          </a:r>
        </a:p>
      </dgm:t>
    </dgm:pt>
    <dgm:pt modelId="{12824588-267A-4211-8139-69AB71701F3D}" type="parTrans" cxnId="{7AEA8D2F-E5F4-4CD3-9E81-7C041C35D7D1}">
      <dgm:prSet/>
      <dgm:spPr/>
      <dgm:t>
        <a:bodyPr/>
        <a:lstStyle/>
        <a:p>
          <a:endParaRPr lang="en-GB"/>
        </a:p>
      </dgm:t>
    </dgm:pt>
    <dgm:pt modelId="{290F07F1-05FD-4DE0-AB24-71FB8FA0860E}" type="sibTrans" cxnId="{7AEA8D2F-E5F4-4CD3-9E81-7C041C35D7D1}">
      <dgm:prSet/>
      <dgm:spPr/>
      <dgm:t>
        <a:bodyPr/>
        <a:lstStyle/>
        <a:p>
          <a:endParaRPr lang="en-GB"/>
        </a:p>
      </dgm:t>
    </dgm:pt>
    <dgm:pt modelId="{CD59F500-D0C9-4841-83F9-C94A21129A3A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Inflight service</a:t>
          </a:r>
        </a:p>
      </dgm:t>
    </dgm:pt>
    <dgm:pt modelId="{64F4CDEF-AE45-45F2-B0E9-B4B08D1508EB}" type="parTrans" cxnId="{23FA9BBC-A7E6-4635-99B4-7C474A98FB1B}">
      <dgm:prSet/>
      <dgm:spPr/>
      <dgm:t>
        <a:bodyPr/>
        <a:lstStyle/>
        <a:p>
          <a:endParaRPr lang="en-GB"/>
        </a:p>
      </dgm:t>
    </dgm:pt>
    <dgm:pt modelId="{EA1C563A-28A7-4519-98EE-D80D43FEC920}" type="sibTrans" cxnId="{23FA9BBC-A7E6-4635-99B4-7C474A98FB1B}">
      <dgm:prSet/>
      <dgm:spPr/>
      <dgm:t>
        <a:bodyPr/>
        <a:lstStyle/>
        <a:p>
          <a:endParaRPr lang="en-GB"/>
        </a:p>
      </dgm:t>
    </dgm:pt>
    <dgm:pt modelId="{D28B0CBF-F80B-4D8C-B733-7982A4419661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cleanliness</a:t>
          </a:r>
        </a:p>
      </dgm:t>
    </dgm:pt>
    <dgm:pt modelId="{2490CE24-048C-407F-9A53-8D7A49ADBED8}" type="parTrans" cxnId="{EC293700-4A5E-4527-9A50-6B8422C4D686}">
      <dgm:prSet/>
      <dgm:spPr/>
      <dgm:t>
        <a:bodyPr/>
        <a:lstStyle/>
        <a:p>
          <a:endParaRPr lang="en-GB"/>
        </a:p>
      </dgm:t>
    </dgm:pt>
    <dgm:pt modelId="{A5BA7B7B-69D9-4FDD-88E2-0DEFDBA3260F}" type="sibTrans" cxnId="{EC293700-4A5E-4527-9A50-6B8422C4D686}">
      <dgm:prSet/>
      <dgm:spPr/>
      <dgm:t>
        <a:bodyPr/>
        <a:lstStyle/>
        <a:p>
          <a:endParaRPr lang="en-GB"/>
        </a:p>
      </dgm:t>
    </dgm:pt>
    <dgm:pt modelId="{AC5F158E-0A3E-4BE1-B70F-A0AB135F16DA}" type="pres">
      <dgm:prSet presAssocID="{FDCB1D67-3592-4ED3-BCCB-2B22280C685C}" presName="Name0" presStyleCnt="0">
        <dgm:presLayoutVars>
          <dgm:dir/>
          <dgm:resizeHandles/>
        </dgm:presLayoutVars>
      </dgm:prSet>
      <dgm:spPr/>
    </dgm:pt>
    <dgm:pt modelId="{8D1B60C1-F140-44F2-B0A2-74D9950CDF52}" type="pres">
      <dgm:prSet presAssocID="{1BE150BA-9A3C-48FF-9B66-9F0D6ADA983C}" presName="compNode" presStyleCnt="0"/>
      <dgm:spPr/>
    </dgm:pt>
    <dgm:pt modelId="{D3529B7F-A545-4271-A295-E443A10F395F}" type="pres">
      <dgm:prSet presAssocID="{1BE150BA-9A3C-48FF-9B66-9F0D6ADA983C}" presName="dummyConnPt" presStyleCnt="0"/>
      <dgm:spPr/>
    </dgm:pt>
    <dgm:pt modelId="{3D47EAF9-89A6-489A-A8CB-CE63410F25E6}" type="pres">
      <dgm:prSet presAssocID="{1BE150BA-9A3C-48FF-9B66-9F0D6ADA983C}" presName="node" presStyleLbl="node1" presStyleIdx="0" presStyleCnt="14">
        <dgm:presLayoutVars>
          <dgm:bulletEnabled val="1"/>
        </dgm:presLayoutVars>
      </dgm:prSet>
      <dgm:spPr/>
    </dgm:pt>
    <dgm:pt modelId="{2B21A17C-6E67-41B7-B1FC-97601D0980D1}" type="pres">
      <dgm:prSet presAssocID="{4013FCCF-C92A-490F-96AE-45346E54559A}" presName="sibTrans" presStyleLbl="bgSibTrans2D1" presStyleIdx="0" presStyleCnt="13"/>
      <dgm:spPr/>
    </dgm:pt>
    <dgm:pt modelId="{A6D183DD-1FFB-4989-A58A-825162CE3352}" type="pres">
      <dgm:prSet presAssocID="{42067A9A-7A5F-407D-8F63-06360C3125BD}" presName="compNode" presStyleCnt="0"/>
      <dgm:spPr/>
    </dgm:pt>
    <dgm:pt modelId="{219EC2EA-5C4A-462C-B15A-6D25A3E779F8}" type="pres">
      <dgm:prSet presAssocID="{42067A9A-7A5F-407D-8F63-06360C3125BD}" presName="dummyConnPt" presStyleCnt="0"/>
      <dgm:spPr/>
    </dgm:pt>
    <dgm:pt modelId="{B583D488-17B8-42FE-A9B9-223EAEE11C57}" type="pres">
      <dgm:prSet presAssocID="{42067A9A-7A5F-407D-8F63-06360C3125BD}" presName="node" presStyleLbl="node1" presStyleIdx="1" presStyleCnt="14">
        <dgm:presLayoutVars>
          <dgm:bulletEnabled val="1"/>
        </dgm:presLayoutVars>
      </dgm:prSet>
      <dgm:spPr/>
    </dgm:pt>
    <dgm:pt modelId="{95E26C4A-0DD4-4AC8-AA17-8D07F538EEAE}" type="pres">
      <dgm:prSet presAssocID="{6819FD74-644D-43CC-AAFB-B0AC92380683}" presName="sibTrans" presStyleLbl="bgSibTrans2D1" presStyleIdx="1" presStyleCnt="13"/>
      <dgm:spPr/>
    </dgm:pt>
    <dgm:pt modelId="{6C2C0DF4-2856-4FC9-B978-7DB9413B5BF8}" type="pres">
      <dgm:prSet presAssocID="{27AC6685-7826-4259-A6EA-0479B4E6F1CC}" presName="compNode" presStyleCnt="0"/>
      <dgm:spPr/>
    </dgm:pt>
    <dgm:pt modelId="{8F6A4972-5858-4D26-8123-E861724D71E6}" type="pres">
      <dgm:prSet presAssocID="{27AC6685-7826-4259-A6EA-0479B4E6F1CC}" presName="dummyConnPt" presStyleCnt="0"/>
      <dgm:spPr/>
    </dgm:pt>
    <dgm:pt modelId="{CEB38211-29E1-487D-B7A2-1DC33DF836A9}" type="pres">
      <dgm:prSet presAssocID="{27AC6685-7826-4259-A6EA-0479B4E6F1CC}" presName="node" presStyleLbl="node1" presStyleIdx="2" presStyleCnt="14">
        <dgm:presLayoutVars>
          <dgm:bulletEnabled val="1"/>
        </dgm:presLayoutVars>
      </dgm:prSet>
      <dgm:spPr/>
    </dgm:pt>
    <dgm:pt modelId="{5EF5E3BE-088B-449E-9A3A-23C37FC142A5}" type="pres">
      <dgm:prSet presAssocID="{634196BE-7A25-4CD8-902D-FC70BE741F42}" presName="sibTrans" presStyleLbl="bgSibTrans2D1" presStyleIdx="2" presStyleCnt="13"/>
      <dgm:spPr/>
    </dgm:pt>
    <dgm:pt modelId="{779E9D17-F6A0-43D9-A26C-95E003021431}" type="pres">
      <dgm:prSet presAssocID="{4F0640C9-E835-4BC7-8852-A823E004FF0E}" presName="compNode" presStyleCnt="0"/>
      <dgm:spPr/>
    </dgm:pt>
    <dgm:pt modelId="{C77FC82B-8FB8-4672-8165-F65CE0A96120}" type="pres">
      <dgm:prSet presAssocID="{4F0640C9-E835-4BC7-8852-A823E004FF0E}" presName="dummyConnPt" presStyleCnt="0"/>
      <dgm:spPr/>
    </dgm:pt>
    <dgm:pt modelId="{33048277-4E8F-4512-A6FB-ABE7854DE406}" type="pres">
      <dgm:prSet presAssocID="{4F0640C9-E835-4BC7-8852-A823E004FF0E}" presName="node" presStyleLbl="node1" presStyleIdx="3" presStyleCnt="14">
        <dgm:presLayoutVars>
          <dgm:bulletEnabled val="1"/>
        </dgm:presLayoutVars>
      </dgm:prSet>
      <dgm:spPr/>
    </dgm:pt>
    <dgm:pt modelId="{AB56E4A0-62B1-4E68-ADCC-7EC7F861DFF0}" type="pres">
      <dgm:prSet presAssocID="{073A6A7D-2609-41C3-BA97-6D4593485B96}" presName="sibTrans" presStyleLbl="bgSibTrans2D1" presStyleIdx="3" presStyleCnt="13"/>
      <dgm:spPr/>
    </dgm:pt>
    <dgm:pt modelId="{009ACA4A-CC8A-46C9-BC1B-AA6AC959B207}" type="pres">
      <dgm:prSet presAssocID="{9554756D-D526-4F1F-8184-A29EC57198B8}" presName="compNode" presStyleCnt="0"/>
      <dgm:spPr/>
    </dgm:pt>
    <dgm:pt modelId="{F75CA0F0-1255-437D-AD6A-2DEDBEBEE72D}" type="pres">
      <dgm:prSet presAssocID="{9554756D-D526-4F1F-8184-A29EC57198B8}" presName="dummyConnPt" presStyleCnt="0"/>
      <dgm:spPr/>
    </dgm:pt>
    <dgm:pt modelId="{D03AB05D-0D18-4279-94CC-1DBF26317F5B}" type="pres">
      <dgm:prSet presAssocID="{9554756D-D526-4F1F-8184-A29EC57198B8}" presName="node" presStyleLbl="node1" presStyleIdx="4" presStyleCnt="14">
        <dgm:presLayoutVars>
          <dgm:bulletEnabled val="1"/>
        </dgm:presLayoutVars>
      </dgm:prSet>
      <dgm:spPr/>
    </dgm:pt>
    <dgm:pt modelId="{49ECF950-B961-46FC-9B83-DE4D472CD15F}" type="pres">
      <dgm:prSet presAssocID="{3AA728A8-AEB6-405B-A335-E46083387E73}" presName="sibTrans" presStyleLbl="bgSibTrans2D1" presStyleIdx="4" presStyleCnt="13"/>
      <dgm:spPr/>
    </dgm:pt>
    <dgm:pt modelId="{E9664808-4E07-4611-BC24-DD9A4AF3EE69}" type="pres">
      <dgm:prSet presAssocID="{1664B33B-9A40-490D-A16F-9D88C8000B41}" presName="compNode" presStyleCnt="0"/>
      <dgm:spPr/>
    </dgm:pt>
    <dgm:pt modelId="{64EC462F-C4FA-4508-AB48-920155F688B2}" type="pres">
      <dgm:prSet presAssocID="{1664B33B-9A40-490D-A16F-9D88C8000B41}" presName="dummyConnPt" presStyleCnt="0"/>
      <dgm:spPr/>
    </dgm:pt>
    <dgm:pt modelId="{54687E1F-5FF5-4FFB-9BED-E48346A58E60}" type="pres">
      <dgm:prSet presAssocID="{1664B33B-9A40-490D-A16F-9D88C8000B41}" presName="node" presStyleLbl="node1" presStyleIdx="5" presStyleCnt="14">
        <dgm:presLayoutVars>
          <dgm:bulletEnabled val="1"/>
        </dgm:presLayoutVars>
      </dgm:prSet>
      <dgm:spPr/>
    </dgm:pt>
    <dgm:pt modelId="{41E3E0D5-F011-4E36-B7B9-0D64EA124B7C}" type="pres">
      <dgm:prSet presAssocID="{38DBACB0-FCC1-4B00-A597-80AAD80C3A9A}" presName="sibTrans" presStyleLbl="bgSibTrans2D1" presStyleIdx="5" presStyleCnt="13"/>
      <dgm:spPr/>
    </dgm:pt>
    <dgm:pt modelId="{A5648246-D087-442B-94D6-DD4701AC0C5D}" type="pres">
      <dgm:prSet presAssocID="{23F5FC88-59F4-40AD-BCED-D0D5A39EC995}" presName="compNode" presStyleCnt="0"/>
      <dgm:spPr/>
    </dgm:pt>
    <dgm:pt modelId="{08599036-C5AA-41E5-A97B-9E86A3330DFF}" type="pres">
      <dgm:prSet presAssocID="{23F5FC88-59F4-40AD-BCED-D0D5A39EC995}" presName="dummyConnPt" presStyleCnt="0"/>
      <dgm:spPr/>
    </dgm:pt>
    <dgm:pt modelId="{1C22B507-D0F3-4C15-8089-D85C55C5428D}" type="pres">
      <dgm:prSet presAssocID="{23F5FC88-59F4-40AD-BCED-D0D5A39EC995}" presName="node" presStyleLbl="node1" presStyleIdx="6" presStyleCnt="14">
        <dgm:presLayoutVars>
          <dgm:bulletEnabled val="1"/>
        </dgm:presLayoutVars>
      </dgm:prSet>
      <dgm:spPr/>
    </dgm:pt>
    <dgm:pt modelId="{F6BF5F0E-1711-4F44-A249-5CA6FA87A0D9}" type="pres">
      <dgm:prSet presAssocID="{B5005FC2-40F0-418A-90D7-AD629B76C931}" presName="sibTrans" presStyleLbl="bgSibTrans2D1" presStyleIdx="6" presStyleCnt="13"/>
      <dgm:spPr/>
    </dgm:pt>
    <dgm:pt modelId="{C2DF656A-723E-41EC-B37E-3275FC3FF5A0}" type="pres">
      <dgm:prSet presAssocID="{2D161711-3B67-4CBC-AFC0-C613C0B7A639}" presName="compNode" presStyleCnt="0"/>
      <dgm:spPr/>
    </dgm:pt>
    <dgm:pt modelId="{AD954B10-0163-4821-A484-7D353DE11625}" type="pres">
      <dgm:prSet presAssocID="{2D161711-3B67-4CBC-AFC0-C613C0B7A639}" presName="dummyConnPt" presStyleCnt="0"/>
      <dgm:spPr/>
    </dgm:pt>
    <dgm:pt modelId="{CADE573E-42C8-41CB-841A-5382491470A6}" type="pres">
      <dgm:prSet presAssocID="{2D161711-3B67-4CBC-AFC0-C613C0B7A639}" presName="node" presStyleLbl="node1" presStyleIdx="7" presStyleCnt="14">
        <dgm:presLayoutVars>
          <dgm:bulletEnabled val="1"/>
        </dgm:presLayoutVars>
      </dgm:prSet>
      <dgm:spPr/>
    </dgm:pt>
    <dgm:pt modelId="{CCE60A50-C318-442E-B25D-5902FE4FA202}" type="pres">
      <dgm:prSet presAssocID="{E71EAE73-C9BE-4C54-9D53-852ECEA78573}" presName="sibTrans" presStyleLbl="bgSibTrans2D1" presStyleIdx="7" presStyleCnt="13"/>
      <dgm:spPr/>
    </dgm:pt>
    <dgm:pt modelId="{1F5720AE-3461-4522-B5FC-30C11B13F05C}" type="pres">
      <dgm:prSet presAssocID="{5250169E-0240-49A8-A2AD-3EBA9C229303}" presName="compNode" presStyleCnt="0"/>
      <dgm:spPr/>
    </dgm:pt>
    <dgm:pt modelId="{28ABE135-9CE6-4D59-9FA9-ACBA7EE99730}" type="pres">
      <dgm:prSet presAssocID="{5250169E-0240-49A8-A2AD-3EBA9C229303}" presName="dummyConnPt" presStyleCnt="0"/>
      <dgm:spPr/>
    </dgm:pt>
    <dgm:pt modelId="{7AF46001-C290-4B19-8021-E69C47627C05}" type="pres">
      <dgm:prSet presAssocID="{5250169E-0240-49A8-A2AD-3EBA9C229303}" presName="node" presStyleLbl="node1" presStyleIdx="8" presStyleCnt="14">
        <dgm:presLayoutVars>
          <dgm:bulletEnabled val="1"/>
        </dgm:presLayoutVars>
      </dgm:prSet>
      <dgm:spPr/>
    </dgm:pt>
    <dgm:pt modelId="{A5E382DA-BB4F-40E7-B4B7-E43A80298681}" type="pres">
      <dgm:prSet presAssocID="{4207A6D5-03AA-478E-8815-A1C22809C9AE}" presName="sibTrans" presStyleLbl="bgSibTrans2D1" presStyleIdx="8" presStyleCnt="13"/>
      <dgm:spPr/>
    </dgm:pt>
    <dgm:pt modelId="{9C6D001B-72C2-436B-8C76-51447CF2C9F4}" type="pres">
      <dgm:prSet presAssocID="{39D85BCF-5E27-470B-B75A-172F3EA43AA3}" presName="compNode" presStyleCnt="0"/>
      <dgm:spPr/>
    </dgm:pt>
    <dgm:pt modelId="{2C328BFD-05CA-446C-A018-B2CB857F010D}" type="pres">
      <dgm:prSet presAssocID="{39D85BCF-5E27-470B-B75A-172F3EA43AA3}" presName="dummyConnPt" presStyleCnt="0"/>
      <dgm:spPr/>
    </dgm:pt>
    <dgm:pt modelId="{09A3AC77-DD9D-4C52-AFCE-ED59AAA4E81F}" type="pres">
      <dgm:prSet presAssocID="{39D85BCF-5E27-470B-B75A-172F3EA43AA3}" presName="node" presStyleLbl="node1" presStyleIdx="9" presStyleCnt="14">
        <dgm:presLayoutVars>
          <dgm:bulletEnabled val="1"/>
        </dgm:presLayoutVars>
      </dgm:prSet>
      <dgm:spPr/>
    </dgm:pt>
    <dgm:pt modelId="{96E26D5D-5333-4196-B018-7E9878E11FA5}" type="pres">
      <dgm:prSet presAssocID="{41BCA160-BFAF-49EB-9338-A7591EB19560}" presName="sibTrans" presStyleLbl="bgSibTrans2D1" presStyleIdx="9" presStyleCnt="13"/>
      <dgm:spPr/>
    </dgm:pt>
    <dgm:pt modelId="{8747B53A-0460-4953-AF21-438DE7017F5B}" type="pres">
      <dgm:prSet presAssocID="{43BE2258-202E-484C-BB97-4EB81AB4747E}" presName="compNode" presStyleCnt="0"/>
      <dgm:spPr/>
    </dgm:pt>
    <dgm:pt modelId="{E892594A-9B53-4B42-87DD-EEAF053CCEF1}" type="pres">
      <dgm:prSet presAssocID="{43BE2258-202E-484C-BB97-4EB81AB4747E}" presName="dummyConnPt" presStyleCnt="0"/>
      <dgm:spPr/>
    </dgm:pt>
    <dgm:pt modelId="{799D7B68-65B4-4E81-9058-F231A725B292}" type="pres">
      <dgm:prSet presAssocID="{43BE2258-202E-484C-BB97-4EB81AB4747E}" presName="node" presStyleLbl="node1" presStyleIdx="10" presStyleCnt="14">
        <dgm:presLayoutVars>
          <dgm:bulletEnabled val="1"/>
        </dgm:presLayoutVars>
      </dgm:prSet>
      <dgm:spPr/>
    </dgm:pt>
    <dgm:pt modelId="{ACF183F3-FEE0-42CA-9858-63F10A54B5D6}" type="pres">
      <dgm:prSet presAssocID="{BFF2440E-B95E-4AFB-A8CF-0AE3F9E7100F}" presName="sibTrans" presStyleLbl="bgSibTrans2D1" presStyleIdx="10" presStyleCnt="13"/>
      <dgm:spPr/>
    </dgm:pt>
    <dgm:pt modelId="{1B4FDE74-79B7-439C-8D72-8272809CCB64}" type="pres">
      <dgm:prSet presAssocID="{54757A88-AC37-4F85-8B82-15DA07D9D683}" presName="compNode" presStyleCnt="0"/>
      <dgm:spPr/>
    </dgm:pt>
    <dgm:pt modelId="{8EDE6F07-5622-4A5D-AD8E-C940C70D96AF}" type="pres">
      <dgm:prSet presAssocID="{54757A88-AC37-4F85-8B82-15DA07D9D683}" presName="dummyConnPt" presStyleCnt="0"/>
      <dgm:spPr/>
    </dgm:pt>
    <dgm:pt modelId="{B27F6399-83A0-4D26-89B8-7EE93F523CAF}" type="pres">
      <dgm:prSet presAssocID="{54757A88-AC37-4F85-8B82-15DA07D9D683}" presName="node" presStyleLbl="node1" presStyleIdx="11" presStyleCnt="14">
        <dgm:presLayoutVars>
          <dgm:bulletEnabled val="1"/>
        </dgm:presLayoutVars>
      </dgm:prSet>
      <dgm:spPr/>
    </dgm:pt>
    <dgm:pt modelId="{19EB2734-577F-41FB-9AED-18929BB6E08E}" type="pres">
      <dgm:prSet presAssocID="{290F07F1-05FD-4DE0-AB24-71FB8FA0860E}" presName="sibTrans" presStyleLbl="bgSibTrans2D1" presStyleIdx="11" presStyleCnt="13"/>
      <dgm:spPr/>
    </dgm:pt>
    <dgm:pt modelId="{64813A87-01F8-4296-A1A3-56CB0A1208B9}" type="pres">
      <dgm:prSet presAssocID="{CD59F500-D0C9-4841-83F9-C94A21129A3A}" presName="compNode" presStyleCnt="0"/>
      <dgm:spPr/>
    </dgm:pt>
    <dgm:pt modelId="{76347B4B-6880-44D4-B340-6F165C86BDD2}" type="pres">
      <dgm:prSet presAssocID="{CD59F500-D0C9-4841-83F9-C94A21129A3A}" presName="dummyConnPt" presStyleCnt="0"/>
      <dgm:spPr/>
    </dgm:pt>
    <dgm:pt modelId="{7D9D7A85-315C-4BF4-A950-A4B15E212CBD}" type="pres">
      <dgm:prSet presAssocID="{CD59F500-D0C9-4841-83F9-C94A21129A3A}" presName="node" presStyleLbl="node1" presStyleIdx="12" presStyleCnt="14">
        <dgm:presLayoutVars>
          <dgm:bulletEnabled val="1"/>
        </dgm:presLayoutVars>
      </dgm:prSet>
      <dgm:spPr/>
    </dgm:pt>
    <dgm:pt modelId="{1615DFEE-E594-40FE-B6AB-37D3E9A1E0DF}" type="pres">
      <dgm:prSet presAssocID="{EA1C563A-28A7-4519-98EE-D80D43FEC920}" presName="sibTrans" presStyleLbl="bgSibTrans2D1" presStyleIdx="12" presStyleCnt="13"/>
      <dgm:spPr/>
    </dgm:pt>
    <dgm:pt modelId="{09BB34AC-8C82-4E6E-B2C8-AB33E30AA90C}" type="pres">
      <dgm:prSet presAssocID="{D28B0CBF-F80B-4D8C-B733-7982A4419661}" presName="compNode" presStyleCnt="0"/>
      <dgm:spPr/>
    </dgm:pt>
    <dgm:pt modelId="{565A52EC-2471-45B1-BF90-B425B80B2A2A}" type="pres">
      <dgm:prSet presAssocID="{D28B0CBF-F80B-4D8C-B733-7982A4419661}" presName="dummyConnPt" presStyleCnt="0"/>
      <dgm:spPr/>
    </dgm:pt>
    <dgm:pt modelId="{C76EB326-CE73-4E4C-9E87-FB94846CD38B}" type="pres">
      <dgm:prSet presAssocID="{D28B0CBF-F80B-4D8C-B733-7982A4419661}" presName="node" presStyleLbl="node1" presStyleIdx="13" presStyleCnt="14">
        <dgm:presLayoutVars>
          <dgm:bulletEnabled val="1"/>
        </dgm:presLayoutVars>
      </dgm:prSet>
      <dgm:spPr/>
    </dgm:pt>
  </dgm:ptLst>
  <dgm:cxnLst>
    <dgm:cxn modelId="{EC293700-4A5E-4527-9A50-6B8422C4D686}" srcId="{FDCB1D67-3592-4ED3-BCCB-2B22280C685C}" destId="{D28B0CBF-F80B-4D8C-B733-7982A4419661}" srcOrd="13" destOrd="0" parTransId="{2490CE24-048C-407F-9A53-8D7A49ADBED8}" sibTransId="{A5BA7B7B-69D9-4FDD-88E2-0DEFDBA3260F}"/>
    <dgm:cxn modelId="{15863C02-7CAA-4195-BE7B-262F595CF14D}" type="presOf" srcId="{42067A9A-7A5F-407D-8F63-06360C3125BD}" destId="{B583D488-17B8-42FE-A9B9-223EAEE11C57}" srcOrd="0" destOrd="0" presId="urn:microsoft.com/office/officeart/2005/8/layout/bProcess4"/>
    <dgm:cxn modelId="{1CE51A05-137B-4D81-98A4-E0F0C47A163B}" type="presOf" srcId="{CD59F500-D0C9-4841-83F9-C94A21129A3A}" destId="{7D9D7A85-315C-4BF4-A950-A4B15E212CBD}" srcOrd="0" destOrd="0" presId="urn:microsoft.com/office/officeart/2005/8/layout/bProcess4"/>
    <dgm:cxn modelId="{FCCE780C-F97D-4D27-935A-C5168507C60F}" type="presOf" srcId="{43BE2258-202E-484C-BB97-4EB81AB4747E}" destId="{799D7B68-65B4-4E81-9058-F231A725B292}" srcOrd="0" destOrd="0" presId="urn:microsoft.com/office/officeart/2005/8/layout/bProcess4"/>
    <dgm:cxn modelId="{C61FAC0C-28E7-44EB-9192-DC2BD023FBA6}" type="presOf" srcId="{6819FD74-644D-43CC-AAFB-B0AC92380683}" destId="{95E26C4A-0DD4-4AC8-AA17-8D07F538EEAE}" srcOrd="0" destOrd="0" presId="urn:microsoft.com/office/officeart/2005/8/layout/bProcess4"/>
    <dgm:cxn modelId="{4B24D90C-5404-44D1-8D16-B76F96C2179D}" type="presOf" srcId="{5250169E-0240-49A8-A2AD-3EBA9C229303}" destId="{7AF46001-C290-4B19-8021-E69C47627C05}" srcOrd="0" destOrd="0" presId="urn:microsoft.com/office/officeart/2005/8/layout/bProcess4"/>
    <dgm:cxn modelId="{A1CEC212-5951-4629-BA17-D101FFD0449D}" type="presOf" srcId="{073A6A7D-2609-41C3-BA97-6D4593485B96}" destId="{AB56E4A0-62B1-4E68-ADCC-7EC7F861DFF0}" srcOrd="0" destOrd="0" presId="urn:microsoft.com/office/officeart/2005/8/layout/bProcess4"/>
    <dgm:cxn modelId="{BC028A22-B39E-4057-AE19-592EA414AAAF}" type="presOf" srcId="{1BE150BA-9A3C-48FF-9B66-9F0D6ADA983C}" destId="{3D47EAF9-89A6-489A-A8CB-CE63410F25E6}" srcOrd="0" destOrd="0" presId="urn:microsoft.com/office/officeart/2005/8/layout/bProcess4"/>
    <dgm:cxn modelId="{7AEA8D2F-E5F4-4CD3-9E81-7C041C35D7D1}" srcId="{FDCB1D67-3592-4ED3-BCCB-2B22280C685C}" destId="{54757A88-AC37-4F85-8B82-15DA07D9D683}" srcOrd="11" destOrd="0" parTransId="{12824588-267A-4211-8139-69AB71701F3D}" sibTransId="{290F07F1-05FD-4DE0-AB24-71FB8FA0860E}"/>
    <dgm:cxn modelId="{D4D9CF2F-6C53-4DA7-9988-9C889801FBDB}" type="presOf" srcId="{FDCB1D67-3592-4ED3-BCCB-2B22280C685C}" destId="{AC5F158E-0A3E-4BE1-B70F-A0AB135F16DA}" srcOrd="0" destOrd="0" presId="urn:microsoft.com/office/officeart/2005/8/layout/bProcess4"/>
    <dgm:cxn modelId="{5B63DC2F-0F73-4BFE-B996-0A46BF374D50}" type="presOf" srcId="{27AC6685-7826-4259-A6EA-0479B4E6F1CC}" destId="{CEB38211-29E1-487D-B7A2-1DC33DF836A9}" srcOrd="0" destOrd="0" presId="urn:microsoft.com/office/officeart/2005/8/layout/bProcess4"/>
    <dgm:cxn modelId="{78DF4933-4DF9-4722-BFCB-9D9A1F4E54E8}" type="presOf" srcId="{BFF2440E-B95E-4AFB-A8CF-0AE3F9E7100F}" destId="{ACF183F3-FEE0-42CA-9858-63F10A54B5D6}" srcOrd="0" destOrd="0" presId="urn:microsoft.com/office/officeart/2005/8/layout/bProcess4"/>
    <dgm:cxn modelId="{80960938-E010-4F03-998C-0642D94D6760}" type="presOf" srcId="{EA1C563A-28A7-4519-98EE-D80D43FEC920}" destId="{1615DFEE-E594-40FE-B6AB-37D3E9A1E0DF}" srcOrd="0" destOrd="0" presId="urn:microsoft.com/office/officeart/2005/8/layout/bProcess4"/>
    <dgm:cxn modelId="{94A9853D-46CD-4A14-B057-484258F49830}" type="presOf" srcId="{3AA728A8-AEB6-405B-A335-E46083387E73}" destId="{49ECF950-B961-46FC-9B83-DE4D472CD15F}" srcOrd="0" destOrd="0" presId="urn:microsoft.com/office/officeart/2005/8/layout/bProcess4"/>
    <dgm:cxn modelId="{CDAC975D-6FB5-4A3F-9BDA-2AC2A00607EB}" srcId="{FDCB1D67-3592-4ED3-BCCB-2B22280C685C}" destId="{2D161711-3B67-4CBC-AFC0-C613C0B7A639}" srcOrd="7" destOrd="0" parTransId="{2A070095-F03B-4E21-8F9C-1D360ADCCAF3}" sibTransId="{E71EAE73-C9BE-4C54-9D53-852ECEA78573}"/>
    <dgm:cxn modelId="{D4157B63-9C44-4231-983F-505D2C90E2AC}" srcId="{FDCB1D67-3592-4ED3-BCCB-2B22280C685C}" destId="{5250169E-0240-49A8-A2AD-3EBA9C229303}" srcOrd="8" destOrd="0" parTransId="{F374D713-AA56-4E1F-B420-5783855F0FD3}" sibTransId="{4207A6D5-03AA-478E-8815-A1C22809C9AE}"/>
    <dgm:cxn modelId="{FB289364-6D92-49D3-8778-EFCC92198B03}" type="presOf" srcId="{4F0640C9-E835-4BC7-8852-A823E004FF0E}" destId="{33048277-4E8F-4512-A6FB-ABE7854DE406}" srcOrd="0" destOrd="0" presId="urn:microsoft.com/office/officeart/2005/8/layout/bProcess4"/>
    <dgm:cxn modelId="{D6889B64-CAF2-4E06-9FC0-4A559B21BCE9}" type="presOf" srcId="{39D85BCF-5E27-470B-B75A-172F3EA43AA3}" destId="{09A3AC77-DD9D-4C52-AFCE-ED59AAA4E81F}" srcOrd="0" destOrd="0" presId="urn:microsoft.com/office/officeart/2005/8/layout/bProcess4"/>
    <dgm:cxn modelId="{0F43F045-3B1D-4F25-9FDC-4E5E5FFEF11C}" type="presOf" srcId="{E71EAE73-C9BE-4C54-9D53-852ECEA78573}" destId="{CCE60A50-C318-442E-B25D-5902FE4FA202}" srcOrd="0" destOrd="0" presId="urn:microsoft.com/office/officeart/2005/8/layout/bProcess4"/>
    <dgm:cxn modelId="{A38CFA66-7BE2-4A75-9B5F-7AAACB320856}" type="presOf" srcId="{4207A6D5-03AA-478E-8815-A1C22809C9AE}" destId="{A5E382DA-BB4F-40E7-B4B7-E43A80298681}" srcOrd="0" destOrd="0" presId="urn:microsoft.com/office/officeart/2005/8/layout/bProcess4"/>
    <dgm:cxn modelId="{0135BF47-E515-4AA5-A9B6-AD7B57272456}" type="presOf" srcId="{D28B0CBF-F80B-4D8C-B733-7982A4419661}" destId="{C76EB326-CE73-4E4C-9E87-FB94846CD38B}" srcOrd="0" destOrd="0" presId="urn:microsoft.com/office/officeart/2005/8/layout/bProcess4"/>
    <dgm:cxn modelId="{820A854B-952F-4CB5-ADD6-AEB7C545BA6D}" srcId="{FDCB1D67-3592-4ED3-BCCB-2B22280C685C}" destId="{4F0640C9-E835-4BC7-8852-A823E004FF0E}" srcOrd="3" destOrd="0" parTransId="{AA98D740-ADCD-4396-836E-8FAB18E69701}" sibTransId="{073A6A7D-2609-41C3-BA97-6D4593485B96}"/>
    <dgm:cxn modelId="{2E984352-320C-4663-8583-204FB0975A82}" srcId="{FDCB1D67-3592-4ED3-BCCB-2B22280C685C}" destId="{23F5FC88-59F4-40AD-BCED-D0D5A39EC995}" srcOrd="6" destOrd="0" parTransId="{F8D3969D-DCC7-4B8B-AB23-B00887A1BE5F}" sibTransId="{B5005FC2-40F0-418A-90D7-AD629B76C931}"/>
    <dgm:cxn modelId="{6D510677-BBB3-4B57-B784-1C797DDB0EAD}" type="presOf" srcId="{2D161711-3B67-4CBC-AFC0-C613C0B7A639}" destId="{CADE573E-42C8-41CB-841A-5382491470A6}" srcOrd="0" destOrd="0" presId="urn:microsoft.com/office/officeart/2005/8/layout/bProcess4"/>
    <dgm:cxn modelId="{F4DF3977-A8EF-418B-B37D-9DA78E9EC1D5}" type="presOf" srcId="{9554756D-D526-4F1F-8184-A29EC57198B8}" destId="{D03AB05D-0D18-4279-94CC-1DBF26317F5B}" srcOrd="0" destOrd="0" presId="urn:microsoft.com/office/officeart/2005/8/layout/bProcess4"/>
    <dgm:cxn modelId="{B18C4F77-73C8-4241-B030-A564BDE9771C}" type="presOf" srcId="{41BCA160-BFAF-49EB-9338-A7591EB19560}" destId="{96E26D5D-5333-4196-B018-7E9878E11FA5}" srcOrd="0" destOrd="0" presId="urn:microsoft.com/office/officeart/2005/8/layout/bProcess4"/>
    <dgm:cxn modelId="{3BE32D89-C591-4586-9C75-4AFDC8295B50}" srcId="{FDCB1D67-3592-4ED3-BCCB-2B22280C685C}" destId="{43BE2258-202E-484C-BB97-4EB81AB4747E}" srcOrd="10" destOrd="0" parTransId="{7BCF83FD-FA04-471F-915D-D25F73E3D93D}" sibTransId="{BFF2440E-B95E-4AFB-A8CF-0AE3F9E7100F}"/>
    <dgm:cxn modelId="{BD8D61A1-877C-4A5E-8C4A-1AE30B4B8D08}" srcId="{FDCB1D67-3592-4ED3-BCCB-2B22280C685C}" destId="{27AC6685-7826-4259-A6EA-0479B4E6F1CC}" srcOrd="2" destOrd="0" parTransId="{D7BA5225-2BD4-46BD-A4B7-70927C0669A4}" sibTransId="{634196BE-7A25-4CD8-902D-FC70BE741F42}"/>
    <dgm:cxn modelId="{85BC5AAB-5015-4EA4-AD66-2BA3FFCE8A3D}" srcId="{FDCB1D67-3592-4ED3-BCCB-2B22280C685C}" destId="{42067A9A-7A5F-407D-8F63-06360C3125BD}" srcOrd="1" destOrd="0" parTransId="{367ECE43-6E00-4664-9655-5B888154C031}" sibTransId="{6819FD74-644D-43CC-AAFB-B0AC92380683}"/>
    <dgm:cxn modelId="{4BD2D9B0-F64A-4A4D-9C5E-ECE399FEB200}" srcId="{FDCB1D67-3592-4ED3-BCCB-2B22280C685C}" destId="{39D85BCF-5E27-470B-B75A-172F3EA43AA3}" srcOrd="9" destOrd="0" parTransId="{13B4A180-1BA3-42DA-B120-17DA997FC8F8}" sibTransId="{41BCA160-BFAF-49EB-9338-A7591EB19560}"/>
    <dgm:cxn modelId="{6D39E1B6-61CA-475A-BFF3-CF01C6038170}" type="presOf" srcId="{54757A88-AC37-4F85-8B82-15DA07D9D683}" destId="{B27F6399-83A0-4D26-89B8-7EE93F523CAF}" srcOrd="0" destOrd="0" presId="urn:microsoft.com/office/officeart/2005/8/layout/bProcess4"/>
    <dgm:cxn modelId="{17D8ECB9-DC60-4A0A-AE52-54F2060CBBB8}" type="presOf" srcId="{B5005FC2-40F0-418A-90D7-AD629B76C931}" destId="{F6BF5F0E-1711-4F44-A249-5CA6FA87A0D9}" srcOrd="0" destOrd="0" presId="urn:microsoft.com/office/officeart/2005/8/layout/bProcess4"/>
    <dgm:cxn modelId="{23FA9BBC-A7E6-4635-99B4-7C474A98FB1B}" srcId="{FDCB1D67-3592-4ED3-BCCB-2B22280C685C}" destId="{CD59F500-D0C9-4841-83F9-C94A21129A3A}" srcOrd="12" destOrd="0" parTransId="{64F4CDEF-AE45-45F2-B0E9-B4B08D1508EB}" sibTransId="{EA1C563A-28A7-4519-98EE-D80D43FEC920}"/>
    <dgm:cxn modelId="{CD6AD8BE-A9B8-4086-A9C4-1DCE066D0E3D}" type="presOf" srcId="{290F07F1-05FD-4DE0-AB24-71FB8FA0860E}" destId="{19EB2734-577F-41FB-9AED-18929BB6E08E}" srcOrd="0" destOrd="0" presId="urn:microsoft.com/office/officeart/2005/8/layout/bProcess4"/>
    <dgm:cxn modelId="{D552DCC1-FDF7-4FEF-A59C-287EB4B2F0F5}" type="presOf" srcId="{4013FCCF-C92A-490F-96AE-45346E54559A}" destId="{2B21A17C-6E67-41B7-B1FC-97601D0980D1}" srcOrd="0" destOrd="0" presId="urn:microsoft.com/office/officeart/2005/8/layout/bProcess4"/>
    <dgm:cxn modelId="{8B15ACCA-1111-4422-86EE-D2E2FFCDEB01}" type="presOf" srcId="{38DBACB0-FCC1-4B00-A597-80AAD80C3A9A}" destId="{41E3E0D5-F011-4E36-B7B9-0D64EA124B7C}" srcOrd="0" destOrd="0" presId="urn:microsoft.com/office/officeart/2005/8/layout/bProcess4"/>
    <dgm:cxn modelId="{384F19CD-529E-4258-BBCB-DFFE866A502F}" type="presOf" srcId="{634196BE-7A25-4CD8-902D-FC70BE741F42}" destId="{5EF5E3BE-088B-449E-9A3A-23C37FC142A5}" srcOrd="0" destOrd="0" presId="urn:microsoft.com/office/officeart/2005/8/layout/bProcess4"/>
    <dgm:cxn modelId="{803B06CF-7243-4D21-94C7-282C6E0DAE02}" srcId="{FDCB1D67-3592-4ED3-BCCB-2B22280C685C}" destId="{1BE150BA-9A3C-48FF-9B66-9F0D6ADA983C}" srcOrd="0" destOrd="0" parTransId="{16A60065-33A4-4011-9CEF-8F513AE57F9C}" sibTransId="{4013FCCF-C92A-490F-96AE-45346E54559A}"/>
    <dgm:cxn modelId="{59A3EBD9-1F14-47AC-8771-E77D5090B610}" srcId="{FDCB1D67-3592-4ED3-BCCB-2B22280C685C}" destId="{9554756D-D526-4F1F-8184-A29EC57198B8}" srcOrd="4" destOrd="0" parTransId="{26B7EDF1-E803-4410-AD01-4B60ED8737A8}" sibTransId="{3AA728A8-AEB6-405B-A335-E46083387E73}"/>
    <dgm:cxn modelId="{F50316E1-3197-477A-98FF-B7E39CBDFD34}" type="presOf" srcId="{1664B33B-9A40-490D-A16F-9D88C8000B41}" destId="{54687E1F-5FF5-4FFB-9BED-E48346A58E60}" srcOrd="0" destOrd="0" presId="urn:microsoft.com/office/officeart/2005/8/layout/bProcess4"/>
    <dgm:cxn modelId="{1E2192E7-6EE5-45D9-BBFF-618CC4D50431}" srcId="{FDCB1D67-3592-4ED3-BCCB-2B22280C685C}" destId="{1664B33B-9A40-490D-A16F-9D88C8000B41}" srcOrd="5" destOrd="0" parTransId="{7B91234F-67D4-4E5E-A31C-7A5870E08436}" sibTransId="{38DBACB0-FCC1-4B00-A597-80AAD80C3A9A}"/>
    <dgm:cxn modelId="{D93F96F6-1AB0-4625-8B28-094C33D3984D}" type="presOf" srcId="{23F5FC88-59F4-40AD-BCED-D0D5A39EC995}" destId="{1C22B507-D0F3-4C15-8089-D85C55C5428D}" srcOrd="0" destOrd="0" presId="urn:microsoft.com/office/officeart/2005/8/layout/bProcess4"/>
    <dgm:cxn modelId="{ED229047-07B1-4DBD-8388-105FC210D14B}" type="presParOf" srcId="{AC5F158E-0A3E-4BE1-B70F-A0AB135F16DA}" destId="{8D1B60C1-F140-44F2-B0A2-74D9950CDF52}" srcOrd="0" destOrd="0" presId="urn:microsoft.com/office/officeart/2005/8/layout/bProcess4"/>
    <dgm:cxn modelId="{98B22F72-BEE4-4C48-AE5C-30238DF57C43}" type="presParOf" srcId="{8D1B60C1-F140-44F2-B0A2-74D9950CDF52}" destId="{D3529B7F-A545-4271-A295-E443A10F395F}" srcOrd="0" destOrd="0" presId="urn:microsoft.com/office/officeart/2005/8/layout/bProcess4"/>
    <dgm:cxn modelId="{0FF8DA5C-0F2F-476F-9B24-A98F2E5DBD98}" type="presParOf" srcId="{8D1B60C1-F140-44F2-B0A2-74D9950CDF52}" destId="{3D47EAF9-89A6-489A-A8CB-CE63410F25E6}" srcOrd="1" destOrd="0" presId="urn:microsoft.com/office/officeart/2005/8/layout/bProcess4"/>
    <dgm:cxn modelId="{FC01C3FF-BBA7-4E0B-A5CC-751970C0D3D3}" type="presParOf" srcId="{AC5F158E-0A3E-4BE1-B70F-A0AB135F16DA}" destId="{2B21A17C-6E67-41B7-B1FC-97601D0980D1}" srcOrd="1" destOrd="0" presId="urn:microsoft.com/office/officeart/2005/8/layout/bProcess4"/>
    <dgm:cxn modelId="{555F4FD2-1A4F-478B-A986-E3D58B2432F4}" type="presParOf" srcId="{AC5F158E-0A3E-4BE1-B70F-A0AB135F16DA}" destId="{A6D183DD-1FFB-4989-A58A-825162CE3352}" srcOrd="2" destOrd="0" presId="urn:microsoft.com/office/officeart/2005/8/layout/bProcess4"/>
    <dgm:cxn modelId="{B5AC5919-2EFD-4447-A284-D6BF1B99EB9D}" type="presParOf" srcId="{A6D183DD-1FFB-4989-A58A-825162CE3352}" destId="{219EC2EA-5C4A-462C-B15A-6D25A3E779F8}" srcOrd="0" destOrd="0" presId="urn:microsoft.com/office/officeart/2005/8/layout/bProcess4"/>
    <dgm:cxn modelId="{FA70910E-B798-405A-BF31-6926269EB7F2}" type="presParOf" srcId="{A6D183DD-1FFB-4989-A58A-825162CE3352}" destId="{B583D488-17B8-42FE-A9B9-223EAEE11C57}" srcOrd="1" destOrd="0" presId="urn:microsoft.com/office/officeart/2005/8/layout/bProcess4"/>
    <dgm:cxn modelId="{C35ECD47-6DCF-4288-B4A8-CB3907BD1931}" type="presParOf" srcId="{AC5F158E-0A3E-4BE1-B70F-A0AB135F16DA}" destId="{95E26C4A-0DD4-4AC8-AA17-8D07F538EEAE}" srcOrd="3" destOrd="0" presId="urn:microsoft.com/office/officeart/2005/8/layout/bProcess4"/>
    <dgm:cxn modelId="{EF6A8B8B-0302-4100-AD96-28C13DD3C1F3}" type="presParOf" srcId="{AC5F158E-0A3E-4BE1-B70F-A0AB135F16DA}" destId="{6C2C0DF4-2856-4FC9-B978-7DB9413B5BF8}" srcOrd="4" destOrd="0" presId="urn:microsoft.com/office/officeart/2005/8/layout/bProcess4"/>
    <dgm:cxn modelId="{3016CBA9-7911-4572-B35E-665DBB34E49B}" type="presParOf" srcId="{6C2C0DF4-2856-4FC9-B978-7DB9413B5BF8}" destId="{8F6A4972-5858-4D26-8123-E861724D71E6}" srcOrd="0" destOrd="0" presId="urn:microsoft.com/office/officeart/2005/8/layout/bProcess4"/>
    <dgm:cxn modelId="{883D2978-D25D-4297-BEE5-5E9A6F1EE11B}" type="presParOf" srcId="{6C2C0DF4-2856-4FC9-B978-7DB9413B5BF8}" destId="{CEB38211-29E1-487D-B7A2-1DC33DF836A9}" srcOrd="1" destOrd="0" presId="urn:microsoft.com/office/officeart/2005/8/layout/bProcess4"/>
    <dgm:cxn modelId="{DDE8791E-ED5E-40A9-90A0-15615E380796}" type="presParOf" srcId="{AC5F158E-0A3E-4BE1-B70F-A0AB135F16DA}" destId="{5EF5E3BE-088B-449E-9A3A-23C37FC142A5}" srcOrd="5" destOrd="0" presId="urn:microsoft.com/office/officeart/2005/8/layout/bProcess4"/>
    <dgm:cxn modelId="{07A436B7-98C1-41AC-B31D-276FF3085DC1}" type="presParOf" srcId="{AC5F158E-0A3E-4BE1-B70F-A0AB135F16DA}" destId="{779E9D17-F6A0-43D9-A26C-95E003021431}" srcOrd="6" destOrd="0" presId="urn:microsoft.com/office/officeart/2005/8/layout/bProcess4"/>
    <dgm:cxn modelId="{B28521C2-17CE-414C-99A9-2708A7DAA8EE}" type="presParOf" srcId="{779E9D17-F6A0-43D9-A26C-95E003021431}" destId="{C77FC82B-8FB8-4672-8165-F65CE0A96120}" srcOrd="0" destOrd="0" presId="urn:microsoft.com/office/officeart/2005/8/layout/bProcess4"/>
    <dgm:cxn modelId="{B14B84D4-B988-48CF-93B1-4231B382E92B}" type="presParOf" srcId="{779E9D17-F6A0-43D9-A26C-95E003021431}" destId="{33048277-4E8F-4512-A6FB-ABE7854DE406}" srcOrd="1" destOrd="0" presId="urn:microsoft.com/office/officeart/2005/8/layout/bProcess4"/>
    <dgm:cxn modelId="{952BB31E-3C5F-48B9-B266-5FC10C6B98BC}" type="presParOf" srcId="{AC5F158E-0A3E-4BE1-B70F-A0AB135F16DA}" destId="{AB56E4A0-62B1-4E68-ADCC-7EC7F861DFF0}" srcOrd="7" destOrd="0" presId="urn:microsoft.com/office/officeart/2005/8/layout/bProcess4"/>
    <dgm:cxn modelId="{FFF289BA-28C7-46A7-9482-0A8F8CC6838E}" type="presParOf" srcId="{AC5F158E-0A3E-4BE1-B70F-A0AB135F16DA}" destId="{009ACA4A-CC8A-46C9-BC1B-AA6AC959B207}" srcOrd="8" destOrd="0" presId="urn:microsoft.com/office/officeart/2005/8/layout/bProcess4"/>
    <dgm:cxn modelId="{E540C67D-FE40-43E3-8029-AE717F2F9EF4}" type="presParOf" srcId="{009ACA4A-CC8A-46C9-BC1B-AA6AC959B207}" destId="{F75CA0F0-1255-437D-AD6A-2DEDBEBEE72D}" srcOrd="0" destOrd="0" presId="urn:microsoft.com/office/officeart/2005/8/layout/bProcess4"/>
    <dgm:cxn modelId="{F610BC5F-1B69-467A-8FF7-936F2408FDE8}" type="presParOf" srcId="{009ACA4A-CC8A-46C9-BC1B-AA6AC959B207}" destId="{D03AB05D-0D18-4279-94CC-1DBF26317F5B}" srcOrd="1" destOrd="0" presId="urn:microsoft.com/office/officeart/2005/8/layout/bProcess4"/>
    <dgm:cxn modelId="{B5C8266C-C428-41EA-AD6D-1F4784D63013}" type="presParOf" srcId="{AC5F158E-0A3E-4BE1-B70F-A0AB135F16DA}" destId="{49ECF950-B961-46FC-9B83-DE4D472CD15F}" srcOrd="9" destOrd="0" presId="urn:microsoft.com/office/officeart/2005/8/layout/bProcess4"/>
    <dgm:cxn modelId="{DB632913-826C-43FE-8E5D-AE1550E28122}" type="presParOf" srcId="{AC5F158E-0A3E-4BE1-B70F-A0AB135F16DA}" destId="{E9664808-4E07-4611-BC24-DD9A4AF3EE69}" srcOrd="10" destOrd="0" presId="urn:microsoft.com/office/officeart/2005/8/layout/bProcess4"/>
    <dgm:cxn modelId="{E8E784D6-7318-433B-BA0F-10FD606DF1A8}" type="presParOf" srcId="{E9664808-4E07-4611-BC24-DD9A4AF3EE69}" destId="{64EC462F-C4FA-4508-AB48-920155F688B2}" srcOrd="0" destOrd="0" presId="urn:microsoft.com/office/officeart/2005/8/layout/bProcess4"/>
    <dgm:cxn modelId="{898E5F0C-77B4-4005-AF07-340C0F57A81C}" type="presParOf" srcId="{E9664808-4E07-4611-BC24-DD9A4AF3EE69}" destId="{54687E1F-5FF5-4FFB-9BED-E48346A58E60}" srcOrd="1" destOrd="0" presId="urn:microsoft.com/office/officeart/2005/8/layout/bProcess4"/>
    <dgm:cxn modelId="{CEDCDE5B-8E08-4216-84D4-517398A99879}" type="presParOf" srcId="{AC5F158E-0A3E-4BE1-B70F-A0AB135F16DA}" destId="{41E3E0D5-F011-4E36-B7B9-0D64EA124B7C}" srcOrd="11" destOrd="0" presId="urn:microsoft.com/office/officeart/2005/8/layout/bProcess4"/>
    <dgm:cxn modelId="{9EBC3327-FDFB-4D2D-B828-8914BE3F6B08}" type="presParOf" srcId="{AC5F158E-0A3E-4BE1-B70F-A0AB135F16DA}" destId="{A5648246-D087-442B-94D6-DD4701AC0C5D}" srcOrd="12" destOrd="0" presId="urn:microsoft.com/office/officeart/2005/8/layout/bProcess4"/>
    <dgm:cxn modelId="{D4C1AAD0-D2C1-4952-836E-24D6471B1645}" type="presParOf" srcId="{A5648246-D087-442B-94D6-DD4701AC0C5D}" destId="{08599036-C5AA-41E5-A97B-9E86A3330DFF}" srcOrd="0" destOrd="0" presId="urn:microsoft.com/office/officeart/2005/8/layout/bProcess4"/>
    <dgm:cxn modelId="{7D9B28B0-3573-4BD7-A114-A95DF5FEE76C}" type="presParOf" srcId="{A5648246-D087-442B-94D6-DD4701AC0C5D}" destId="{1C22B507-D0F3-4C15-8089-D85C55C5428D}" srcOrd="1" destOrd="0" presId="urn:microsoft.com/office/officeart/2005/8/layout/bProcess4"/>
    <dgm:cxn modelId="{60D54ACB-20C1-48C9-84A5-33A086937DD1}" type="presParOf" srcId="{AC5F158E-0A3E-4BE1-B70F-A0AB135F16DA}" destId="{F6BF5F0E-1711-4F44-A249-5CA6FA87A0D9}" srcOrd="13" destOrd="0" presId="urn:microsoft.com/office/officeart/2005/8/layout/bProcess4"/>
    <dgm:cxn modelId="{71248083-BBB2-4857-92D2-F5ED260C7C66}" type="presParOf" srcId="{AC5F158E-0A3E-4BE1-B70F-A0AB135F16DA}" destId="{C2DF656A-723E-41EC-B37E-3275FC3FF5A0}" srcOrd="14" destOrd="0" presId="urn:microsoft.com/office/officeart/2005/8/layout/bProcess4"/>
    <dgm:cxn modelId="{D8E32172-9E25-4328-BA75-5D3EF50E6EDC}" type="presParOf" srcId="{C2DF656A-723E-41EC-B37E-3275FC3FF5A0}" destId="{AD954B10-0163-4821-A484-7D353DE11625}" srcOrd="0" destOrd="0" presId="urn:microsoft.com/office/officeart/2005/8/layout/bProcess4"/>
    <dgm:cxn modelId="{5B8C08FC-9143-467F-80DD-97DA92C1576A}" type="presParOf" srcId="{C2DF656A-723E-41EC-B37E-3275FC3FF5A0}" destId="{CADE573E-42C8-41CB-841A-5382491470A6}" srcOrd="1" destOrd="0" presId="urn:microsoft.com/office/officeart/2005/8/layout/bProcess4"/>
    <dgm:cxn modelId="{35770CA6-36BB-481E-929E-B3A4C87555F7}" type="presParOf" srcId="{AC5F158E-0A3E-4BE1-B70F-A0AB135F16DA}" destId="{CCE60A50-C318-442E-B25D-5902FE4FA202}" srcOrd="15" destOrd="0" presId="urn:microsoft.com/office/officeart/2005/8/layout/bProcess4"/>
    <dgm:cxn modelId="{8D4EDD22-F2C2-430B-A183-CB79B76FFA67}" type="presParOf" srcId="{AC5F158E-0A3E-4BE1-B70F-A0AB135F16DA}" destId="{1F5720AE-3461-4522-B5FC-30C11B13F05C}" srcOrd="16" destOrd="0" presId="urn:microsoft.com/office/officeart/2005/8/layout/bProcess4"/>
    <dgm:cxn modelId="{C5CC2999-4779-4148-BC6C-CBE765DAE63D}" type="presParOf" srcId="{1F5720AE-3461-4522-B5FC-30C11B13F05C}" destId="{28ABE135-9CE6-4D59-9FA9-ACBA7EE99730}" srcOrd="0" destOrd="0" presId="urn:microsoft.com/office/officeart/2005/8/layout/bProcess4"/>
    <dgm:cxn modelId="{677574A8-5C9B-4066-95AD-BE42A4086E1E}" type="presParOf" srcId="{1F5720AE-3461-4522-B5FC-30C11B13F05C}" destId="{7AF46001-C290-4B19-8021-E69C47627C05}" srcOrd="1" destOrd="0" presId="urn:microsoft.com/office/officeart/2005/8/layout/bProcess4"/>
    <dgm:cxn modelId="{9909F050-B9A0-485A-8B1E-1712FD0D706F}" type="presParOf" srcId="{AC5F158E-0A3E-4BE1-B70F-A0AB135F16DA}" destId="{A5E382DA-BB4F-40E7-B4B7-E43A80298681}" srcOrd="17" destOrd="0" presId="urn:microsoft.com/office/officeart/2005/8/layout/bProcess4"/>
    <dgm:cxn modelId="{452A1606-F9A8-43B0-9B2D-7BD44CAE6683}" type="presParOf" srcId="{AC5F158E-0A3E-4BE1-B70F-A0AB135F16DA}" destId="{9C6D001B-72C2-436B-8C76-51447CF2C9F4}" srcOrd="18" destOrd="0" presId="urn:microsoft.com/office/officeart/2005/8/layout/bProcess4"/>
    <dgm:cxn modelId="{2EA01ACC-3E5A-4819-82E7-8D542305EDE6}" type="presParOf" srcId="{9C6D001B-72C2-436B-8C76-51447CF2C9F4}" destId="{2C328BFD-05CA-446C-A018-B2CB857F010D}" srcOrd="0" destOrd="0" presId="urn:microsoft.com/office/officeart/2005/8/layout/bProcess4"/>
    <dgm:cxn modelId="{00E9D901-3CF0-4734-88A9-16350195A6A8}" type="presParOf" srcId="{9C6D001B-72C2-436B-8C76-51447CF2C9F4}" destId="{09A3AC77-DD9D-4C52-AFCE-ED59AAA4E81F}" srcOrd="1" destOrd="0" presId="urn:microsoft.com/office/officeart/2005/8/layout/bProcess4"/>
    <dgm:cxn modelId="{92D9BA26-F236-4F2B-A1D0-CE3569ABAE22}" type="presParOf" srcId="{AC5F158E-0A3E-4BE1-B70F-A0AB135F16DA}" destId="{96E26D5D-5333-4196-B018-7E9878E11FA5}" srcOrd="19" destOrd="0" presId="urn:microsoft.com/office/officeart/2005/8/layout/bProcess4"/>
    <dgm:cxn modelId="{A34696B1-40FE-4971-8CA8-6EDB7914B9BA}" type="presParOf" srcId="{AC5F158E-0A3E-4BE1-B70F-A0AB135F16DA}" destId="{8747B53A-0460-4953-AF21-438DE7017F5B}" srcOrd="20" destOrd="0" presId="urn:microsoft.com/office/officeart/2005/8/layout/bProcess4"/>
    <dgm:cxn modelId="{BE730C78-2A46-4AAB-A5F6-C9F6F58E7A3C}" type="presParOf" srcId="{8747B53A-0460-4953-AF21-438DE7017F5B}" destId="{E892594A-9B53-4B42-87DD-EEAF053CCEF1}" srcOrd="0" destOrd="0" presId="urn:microsoft.com/office/officeart/2005/8/layout/bProcess4"/>
    <dgm:cxn modelId="{B17C576D-27DE-4DE6-A295-3D15AFDCEB13}" type="presParOf" srcId="{8747B53A-0460-4953-AF21-438DE7017F5B}" destId="{799D7B68-65B4-4E81-9058-F231A725B292}" srcOrd="1" destOrd="0" presId="urn:microsoft.com/office/officeart/2005/8/layout/bProcess4"/>
    <dgm:cxn modelId="{73534E56-3D85-4ADA-90E5-2570898E941D}" type="presParOf" srcId="{AC5F158E-0A3E-4BE1-B70F-A0AB135F16DA}" destId="{ACF183F3-FEE0-42CA-9858-63F10A54B5D6}" srcOrd="21" destOrd="0" presId="urn:microsoft.com/office/officeart/2005/8/layout/bProcess4"/>
    <dgm:cxn modelId="{29683AE2-9378-47C4-8F22-990EFEB96675}" type="presParOf" srcId="{AC5F158E-0A3E-4BE1-B70F-A0AB135F16DA}" destId="{1B4FDE74-79B7-439C-8D72-8272809CCB64}" srcOrd="22" destOrd="0" presId="urn:microsoft.com/office/officeart/2005/8/layout/bProcess4"/>
    <dgm:cxn modelId="{F899EAD6-23DB-4550-8A53-177263FB6FF8}" type="presParOf" srcId="{1B4FDE74-79B7-439C-8D72-8272809CCB64}" destId="{8EDE6F07-5622-4A5D-AD8E-C940C70D96AF}" srcOrd="0" destOrd="0" presId="urn:microsoft.com/office/officeart/2005/8/layout/bProcess4"/>
    <dgm:cxn modelId="{2D52A008-59FF-40BC-BA94-25B8CE2D0FDA}" type="presParOf" srcId="{1B4FDE74-79B7-439C-8D72-8272809CCB64}" destId="{B27F6399-83A0-4D26-89B8-7EE93F523CAF}" srcOrd="1" destOrd="0" presId="urn:microsoft.com/office/officeart/2005/8/layout/bProcess4"/>
    <dgm:cxn modelId="{638A499E-CECE-4CF6-8D95-09EE05231127}" type="presParOf" srcId="{AC5F158E-0A3E-4BE1-B70F-A0AB135F16DA}" destId="{19EB2734-577F-41FB-9AED-18929BB6E08E}" srcOrd="23" destOrd="0" presId="urn:microsoft.com/office/officeart/2005/8/layout/bProcess4"/>
    <dgm:cxn modelId="{2EB63E09-9A49-4C30-A433-C29C27B5E9F3}" type="presParOf" srcId="{AC5F158E-0A3E-4BE1-B70F-A0AB135F16DA}" destId="{64813A87-01F8-4296-A1A3-56CB0A1208B9}" srcOrd="24" destOrd="0" presId="urn:microsoft.com/office/officeart/2005/8/layout/bProcess4"/>
    <dgm:cxn modelId="{02F12996-88AF-42FB-9995-F1749D86E038}" type="presParOf" srcId="{64813A87-01F8-4296-A1A3-56CB0A1208B9}" destId="{76347B4B-6880-44D4-B340-6F165C86BDD2}" srcOrd="0" destOrd="0" presId="urn:microsoft.com/office/officeart/2005/8/layout/bProcess4"/>
    <dgm:cxn modelId="{A5AF784A-CFC8-498E-A03C-01EE7A574D78}" type="presParOf" srcId="{64813A87-01F8-4296-A1A3-56CB0A1208B9}" destId="{7D9D7A85-315C-4BF4-A950-A4B15E212CBD}" srcOrd="1" destOrd="0" presId="urn:microsoft.com/office/officeart/2005/8/layout/bProcess4"/>
    <dgm:cxn modelId="{42D270E4-A24E-4FB3-9694-228FDFFA3323}" type="presParOf" srcId="{AC5F158E-0A3E-4BE1-B70F-A0AB135F16DA}" destId="{1615DFEE-E594-40FE-B6AB-37D3E9A1E0DF}" srcOrd="25" destOrd="0" presId="urn:microsoft.com/office/officeart/2005/8/layout/bProcess4"/>
    <dgm:cxn modelId="{2423EFB7-D9BB-4D0A-B8AC-3A2DCC748FB2}" type="presParOf" srcId="{AC5F158E-0A3E-4BE1-B70F-A0AB135F16DA}" destId="{09BB34AC-8C82-4E6E-B2C8-AB33E30AA90C}" srcOrd="26" destOrd="0" presId="urn:microsoft.com/office/officeart/2005/8/layout/bProcess4"/>
    <dgm:cxn modelId="{92B1E87B-82D0-4ED3-9BDB-DF03AF590531}" type="presParOf" srcId="{09BB34AC-8C82-4E6E-B2C8-AB33E30AA90C}" destId="{565A52EC-2471-45B1-BF90-B425B80B2A2A}" srcOrd="0" destOrd="0" presId="urn:microsoft.com/office/officeart/2005/8/layout/bProcess4"/>
    <dgm:cxn modelId="{5D3DA2A5-D4CB-4A04-B7FE-4F37A85B0767}" type="presParOf" srcId="{09BB34AC-8C82-4E6E-B2C8-AB33E30AA90C}" destId="{C76EB326-CE73-4E4C-9E87-FB94846CD38B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CB1D67-3592-4ED3-BCCB-2B22280C685C}" type="doc">
      <dgm:prSet loTypeId="urn:microsoft.com/office/officeart/2005/8/layout/bProcess4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43BE2258-202E-484C-BB97-4EB81AB4747E}">
      <dgm:prSet phldrT="[Text]" custT="1"/>
      <dgm:spPr>
        <a:ln>
          <a:solidFill>
            <a:srgbClr val="FF0000"/>
          </a:solidFill>
          <a:prstDash val="sysDash"/>
        </a:ln>
      </dgm:spPr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id</a:t>
          </a:r>
        </a:p>
      </dgm:t>
    </dgm:pt>
    <dgm:pt modelId="{7BCF83FD-FA04-471F-915D-D25F73E3D93D}" type="parTrans" cxnId="{3BE32D89-C591-4586-9C75-4AFDC8295B50}">
      <dgm:prSet/>
      <dgm:spPr/>
      <dgm:t>
        <a:bodyPr/>
        <a:lstStyle/>
        <a:p>
          <a:endParaRPr lang="en-GB" sz="1800"/>
        </a:p>
      </dgm:t>
    </dgm:pt>
    <dgm:pt modelId="{BFF2440E-B95E-4AFB-A8CF-0AE3F9E7100F}" type="sibTrans" cxnId="{3BE32D89-C591-4586-9C75-4AFDC8295B50}">
      <dgm:prSet/>
      <dgm:spPr/>
      <dgm:t>
        <a:bodyPr/>
        <a:lstStyle/>
        <a:p>
          <a:endParaRPr lang="en-GB" sz="1800"/>
        </a:p>
      </dgm:t>
    </dgm:pt>
    <dgm:pt modelId="{A5A3C7EA-17B6-4ECE-8519-8D2C494F6F6C}">
      <dgm:prSet phldrT="[Text]" custT="1"/>
      <dgm:spPr/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Flight distance</a:t>
          </a:r>
        </a:p>
      </dgm:t>
    </dgm:pt>
    <dgm:pt modelId="{ED39FBB6-F69D-4EE6-A2DE-E110494C132F}" type="parTrans" cxnId="{E9D48914-09F1-4309-9EBC-2D8A3E5B5B19}">
      <dgm:prSet/>
      <dgm:spPr/>
      <dgm:t>
        <a:bodyPr/>
        <a:lstStyle/>
        <a:p>
          <a:endParaRPr lang="en-GB" sz="1800"/>
        </a:p>
      </dgm:t>
    </dgm:pt>
    <dgm:pt modelId="{25C9B537-12E8-4BAB-9B6F-930E8EAFBFD3}" type="sibTrans" cxnId="{E9D48914-09F1-4309-9EBC-2D8A3E5B5B19}">
      <dgm:prSet/>
      <dgm:spPr/>
      <dgm:t>
        <a:bodyPr/>
        <a:lstStyle/>
        <a:p>
          <a:endParaRPr lang="en-GB" sz="1800"/>
        </a:p>
      </dgm:t>
    </dgm:pt>
    <dgm:pt modelId="{04088481-51D0-46C1-8B99-5136145B764E}">
      <dgm:prSet phldrT="[Text]" custT="1"/>
      <dgm:spPr/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Departure delay in minutes</a:t>
          </a:r>
        </a:p>
      </dgm:t>
    </dgm:pt>
    <dgm:pt modelId="{CED738B8-1DBC-4980-8CAB-60ACBDD56250}" type="parTrans" cxnId="{531ECE4E-F78A-4029-B27B-F8D0DB751D6E}">
      <dgm:prSet/>
      <dgm:spPr/>
      <dgm:t>
        <a:bodyPr/>
        <a:lstStyle/>
        <a:p>
          <a:endParaRPr lang="en-GB" sz="1800"/>
        </a:p>
      </dgm:t>
    </dgm:pt>
    <dgm:pt modelId="{BB60A9AF-E071-47BE-B6FB-03B31E09A386}" type="sibTrans" cxnId="{531ECE4E-F78A-4029-B27B-F8D0DB751D6E}">
      <dgm:prSet/>
      <dgm:spPr/>
      <dgm:t>
        <a:bodyPr/>
        <a:lstStyle/>
        <a:p>
          <a:endParaRPr lang="en-GB" sz="1800"/>
        </a:p>
      </dgm:t>
    </dgm:pt>
    <dgm:pt modelId="{B1C2C79B-6E7B-45DD-BB24-BCF3E5B86703}">
      <dgm:prSet phldrT="[Text]" custT="1"/>
      <dgm:spPr/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Arrival delay in minutes</a:t>
          </a:r>
        </a:p>
      </dgm:t>
    </dgm:pt>
    <dgm:pt modelId="{D2408685-2104-4BB3-9205-22D62F1F5332}" type="parTrans" cxnId="{1D23C3CE-9A7E-4158-954E-D44BD301C42B}">
      <dgm:prSet/>
      <dgm:spPr/>
      <dgm:t>
        <a:bodyPr/>
        <a:lstStyle/>
        <a:p>
          <a:endParaRPr lang="en-GB" sz="1800"/>
        </a:p>
      </dgm:t>
    </dgm:pt>
    <dgm:pt modelId="{7BB5C6DD-6786-49AC-8F0A-75D50979DC65}" type="sibTrans" cxnId="{1D23C3CE-9A7E-4158-954E-D44BD301C42B}">
      <dgm:prSet/>
      <dgm:spPr/>
      <dgm:t>
        <a:bodyPr/>
        <a:lstStyle/>
        <a:p>
          <a:endParaRPr lang="en-GB" sz="1800"/>
        </a:p>
      </dgm:t>
    </dgm:pt>
    <dgm:pt modelId="{B2199A7C-EBBC-4447-B0E7-47F6F465D438}">
      <dgm:prSet phldrT="[Text]" custT="1"/>
      <dgm:spPr>
        <a:ln>
          <a:solidFill>
            <a:srgbClr val="FF0000"/>
          </a:solidFill>
          <a:prstDash val="sysDash"/>
        </a:ln>
      </dgm:spPr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Unnamed 0</a:t>
          </a:r>
        </a:p>
      </dgm:t>
    </dgm:pt>
    <dgm:pt modelId="{AD2B9281-9D93-47B6-AD8F-0E143E3D2E26}" type="parTrans" cxnId="{8AB8E425-AD40-4DB3-B305-05225D5686BC}">
      <dgm:prSet/>
      <dgm:spPr/>
      <dgm:t>
        <a:bodyPr/>
        <a:lstStyle/>
        <a:p>
          <a:endParaRPr lang="en-GB"/>
        </a:p>
      </dgm:t>
    </dgm:pt>
    <dgm:pt modelId="{E03BE13D-D337-4398-BCFC-A307FB34D33D}" type="sibTrans" cxnId="{8AB8E425-AD40-4DB3-B305-05225D5686BC}">
      <dgm:prSet/>
      <dgm:spPr/>
      <dgm:t>
        <a:bodyPr/>
        <a:lstStyle/>
        <a:p>
          <a:endParaRPr lang="en-GB"/>
        </a:p>
      </dgm:t>
    </dgm:pt>
    <dgm:pt modelId="{6FC3E73E-DE80-4EB7-BF82-E525B8BCBE4E}">
      <dgm:prSet phldrT="[Text]" custT="1"/>
      <dgm:spPr/>
      <dgm:t>
        <a:bodyPr/>
        <a:lstStyle/>
        <a:p>
          <a:r>
            <a:rPr lang="en-GB" sz="1800" b="1" dirty="0">
              <a:solidFill>
                <a:schemeClr val="tx2"/>
              </a:solidFill>
            </a:rPr>
            <a:t>Age</a:t>
          </a:r>
        </a:p>
      </dgm:t>
    </dgm:pt>
    <dgm:pt modelId="{812C210C-E241-4708-BADF-08A42F11FF8A}" type="parTrans" cxnId="{F4FE4AB3-0C27-4D7B-BB21-FFBE397E1CC2}">
      <dgm:prSet/>
      <dgm:spPr/>
      <dgm:t>
        <a:bodyPr/>
        <a:lstStyle/>
        <a:p>
          <a:endParaRPr lang="en-GB"/>
        </a:p>
      </dgm:t>
    </dgm:pt>
    <dgm:pt modelId="{874D84E4-347A-4531-9AC2-888E9BF2DA55}" type="sibTrans" cxnId="{F4FE4AB3-0C27-4D7B-BB21-FFBE397E1CC2}">
      <dgm:prSet/>
      <dgm:spPr/>
      <dgm:t>
        <a:bodyPr/>
        <a:lstStyle/>
        <a:p>
          <a:endParaRPr lang="en-GB"/>
        </a:p>
      </dgm:t>
    </dgm:pt>
    <dgm:pt modelId="{AC5F158E-0A3E-4BE1-B70F-A0AB135F16DA}" type="pres">
      <dgm:prSet presAssocID="{FDCB1D67-3592-4ED3-BCCB-2B22280C685C}" presName="Name0" presStyleCnt="0">
        <dgm:presLayoutVars>
          <dgm:dir/>
          <dgm:resizeHandles/>
        </dgm:presLayoutVars>
      </dgm:prSet>
      <dgm:spPr/>
    </dgm:pt>
    <dgm:pt modelId="{D08CEE34-3CB1-4B4D-9886-680AC4375880}" type="pres">
      <dgm:prSet presAssocID="{B2199A7C-EBBC-4447-B0E7-47F6F465D438}" presName="compNode" presStyleCnt="0"/>
      <dgm:spPr/>
    </dgm:pt>
    <dgm:pt modelId="{855E2B23-ECC5-4B61-ADEB-74B3692C79CE}" type="pres">
      <dgm:prSet presAssocID="{B2199A7C-EBBC-4447-B0E7-47F6F465D438}" presName="dummyConnPt" presStyleCnt="0"/>
      <dgm:spPr/>
    </dgm:pt>
    <dgm:pt modelId="{5A2BB93F-A7B3-4821-851E-3FAF77C384AB}" type="pres">
      <dgm:prSet presAssocID="{B2199A7C-EBBC-4447-B0E7-47F6F465D438}" presName="node" presStyleLbl="node1" presStyleIdx="0" presStyleCnt="6">
        <dgm:presLayoutVars>
          <dgm:bulletEnabled val="1"/>
        </dgm:presLayoutVars>
      </dgm:prSet>
      <dgm:spPr/>
    </dgm:pt>
    <dgm:pt modelId="{C53EAEBB-2233-4775-BFE2-C790DEFBDB7B}" type="pres">
      <dgm:prSet presAssocID="{E03BE13D-D337-4398-BCFC-A307FB34D33D}" presName="sibTrans" presStyleLbl="bgSibTrans2D1" presStyleIdx="0" presStyleCnt="5"/>
      <dgm:spPr/>
    </dgm:pt>
    <dgm:pt modelId="{8747B53A-0460-4953-AF21-438DE7017F5B}" type="pres">
      <dgm:prSet presAssocID="{43BE2258-202E-484C-BB97-4EB81AB4747E}" presName="compNode" presStyleCnt="0"/>
      <dgm:spPr/>
    </dgm:pt>
    <dgm:pt modelId="{E892594A-9B53-4B42-87DD-EEAF053CCEF1}" type="pres">
      <dgm:prSet presAssocID="{43BE2258-202E-484C-BB97-4EB81AB4747E}" presName="dummyConnPt" presStyleCnt="0"/>
      <dgm:spPr/>
    </dgm:pt>
    <dgm:pt modelId="{799D7B68-65B4-4E81-9058-F231A725B292}" type="pres">
      <dgm:prSet presAssocID="{43BE2258-202E-484C-BB97-4EB81AB4747E}" presName="node" presStyleLbl="node1" presStyleIdx="1" presStyleCnt="6">
        <dgm:presLayoutVars>
          <dgm:bulletEnabled val="1"/>
        </dgm:presLayoutVars>
      </dgm:prSet>
      <dgm:spPr/>
    </dgm:pt>
    <dgm:pt modelId="{ACF183F3-FEE0-42CA-9858-63F10A54B5D6}" type="pres">
      <dgm:prSet presAssocID="{BFF2440E-B95E-4AFB-A8CF-0AE3F9E7100F}" presName="sibTrans" presStyleLbl="bgSibTrans2D1" presStyleIdx="1" presStyleCnt="5"/>
      <dgm:spPr/>
    </dgm:pt>
    <dgm:pt modelId="{083EE973-18CD-4CAC-9696-5C959E40AA87}" type="pres">
      <dgm:prSet presAssocID="{6FC3E73E-DE80-4EB7-BF82-E525B8BCBE4E}" presName="compNode" presStyleCnt="0"/>
      <dgm:spPr/>
    </dgm:pt>
    <dgm:pt modelId="{63D42682-7E8E-4E1E-9DA6-736372AEB36C}" type="pres">
      <dgm:prSet presAssocID="{6FC3E73E-DE80-4EB7-BF82-E525B8BCBE4E}" presName="dummyConnPt" presStyleCnt="0"/>
      <dgm:spPr/>
    </dgm:pt>
    <dgm:pt modelId="{98F561F2-CEEB-49A1-BF47-43925CD4338A}" type="pres">
      <dgm:prSet presAssocID="{6FC3E73E-DE80-4EB7-BF82-E525B8BCBE4E}" presName="node" presStyleLbl="node1" presStyleIdx="2" presStyleCnt="6">
        <dgm:presLayoutVars>
          <dgm:bulletEnabled val="1"/>
        </dgm:presLayoutVars>
      </dgm:prSet>
      <dgm:spPr/>
    </dgm:pt>
    <dgm:pt modelId="{8325EC99-DDE6-4896-8EED-D61C2C9DED16}" type="pres">
      <dgm:prSet presAssocID="{874D84E4-347A-4531-9AC2-888E9BF2DA55}" presName="sibTrans" presStyleLbl="bgSibTrans2D1" presStyleIdx="2" presStyleCnt="5"/>
      <dgm:spPr/>
    </dgm:pt>
    <dgm:pt modelId="{FFBAD12A-A9CF-4785-B1F2-01C61484F895}" type="pres">
      <dgm:prSet presAssocID="{A5A3C7EA-17B6-4ECE-8519-8D2C494F6F6C}" presName="compNode" presStyleCnt="0"/>
      <dgm:spPr/>
    </dgm:pt>
    <dgm:pt modelId="{88CC640E-AB9B-42A1-AA1C-66760258F09B}" type="pres">
      <dgm:prSet presAssocID="{A5A3C7EA-17B6-4ECE-8519-8D2C494F6F6C}" presName="dummyConnPt" presStyleCnt="0"/>
      <dgm:spPr/>
    </dgm:pt>
    <dgm:pt modelId="{E9613875-3576-4801-ADAF-2C66EE7DF432}" type="pres">
      <dgm:prSet presAssocID="{A5A3C7EA-17B6-4ECE-8519-8D2C494F6F6C}" presName="node" presStyleLbl="node1" presStyleIdx="3" presStyleCnt="6">
        <dgm:presLayoutVars>
          <dgm:bulletEnabled val="1"/>
        </dgm:presLayoutVars>
      </dgm:prSet>
      <dgm:spPr/>
    </dgm:pt>
    <dgm:pt modelId="{B3A7155C-A551-4AE4-AED8-33F18E5B592E}" type="pres">
      <dgm:prSet presAssocID="{25C9B537-12E8-4BAB-9B6F-930E8EAFBFD3}" presName="sibTrans" presStyleLbl="bgSibTrans2D1" presStyleIdx="3" presStyleCnt="5"/>
      <dgm:spPr/>
    </dgm:pt>
    <dgm:pt modelId="{CEF10265-2B59-459B-A4CD-8B67082C4419}" type="pres">
      <dgm:prSet presAssocID="{04088481-51D0-46C1-8B99-5136145B764E}" presName="compNode" presStyleCnt="0"/>
      <dgm:spPr/>
    </dgm:pt>
    <dgm:pt modelId="{12FA4770-DB6C-4066-93BD-F46FEF1999FF}" type="pres">
      <dgm:prSet presAssocID="{04088481-51D0-46C1-8B99-5136145B764E}" presName="dummyConnPt" presStyleCnt="0"/>
      <dgm:spPr/>
    </dgm:pt>
    <dgm:pt modelId="{D83AEE4F-F983-47FA-A5ED-0DBB71AC60F0}" type="pres">
      <dgm:prSet presAssocID="{04088481-51D0-46C1-8B99-5136145B764E}" presName="node" presStyleLbl="node1" presStyleIdx="4" presStyleCnt="6">
        <dgm:presLayoutVars>
          <dgm:bulletEnabled val="1"/>
        </dgm:presLayoutVars>
      </dgm:prSet>
      <dgm:spPr/>
    </dgm:pt>
    <dgm:pt modelId="{5C2849F5-C4AA-43E8-9A3F-AC019F385501}" type="pres">
      <dgm:prSet presAssocID="{BB60A9AF-E071-47BE-B6FB-03B31E09A386}" presName="sibTrans" presStyleLbl="bgSibTrans2D1" presStyleIdx="4" presStyleCnt="5"/>
      <dgm:spPr/>
    </dgm:pt>
    <dgm:pt modelId="{55175DC8-F381-4A62-8A1C-55B2EE2F2332}" type="pres">
      <dgm:prSet presAssocID="{B1C2C79B-6E7B-45DD-BB24-BCF3E5B86703}" presName="compNode" presStyleCnt="0"/>
      <dgm:spPr/>
    </dgm:pt>
    <dgm:pt modelId="{AEAD1030-2798-4C95-969A-2423FB094EEB}" type="pres">
      <dgm:prSet presAssocID="{B1C2C79B-6E7B-45DD-BB24-BCF3E5B86703}" presName="dummyConnPt" presStyleCnt="0"/>
      <dgm:spPr/>
    </dgm:pt>
    <dgm:pt modelId="{629390A3-B13A-4A9B-9F10-A27A561D07DE}" type="pres">
      <dgm:prSet presAssocID="{B1C2C79B-6E7B-45DD-BB24-BCF3E5B86703}" presName="node" presStyleLbl="node1" presStyleIdx="5" presStyleCnt="6">
        <dgm:presLayoutVars>
          <dgm:bulletEnabled val="1"/>
        </dgm:presLayoutVars>
      </dgm:prSet>
      <dgm:spPr/>
    </dgm:pt>
  </dgm:ptLst>
  <dgm:cxnLst>
    <dgm:cxn modelId="{DCB05608-1101-4E28-A6A9-6C9515E64473}" type="presOf" srcId="{874D84E4-347A-4531-9AC2-888E9BF2DA55}" destId="{8325EC99-DDE6-4896-8EED-D61C2C9DED16}" srcOrd="0" destOrd="0" presId="urn:microsoft.com/office/officeart/2005/8/layout/bProcess4"/>
    <dgm:cxn modelId="{FCCE780C-F97D-4D27-935A-C5168507C60F}" type="presOf" srcId="{43BE2258-202E-484C-BB97-4EB81AB4747E}" destId="{799D7B68-65B4-4E81-9058-F231A725B292}" srcOrd="0" destOrd="0" presId="urn:microsoft.com/office/officeart/2005/8/layout/bProcess4"/>
    <dgm:cxn modelId="{E9D48914-09F1-4309-9EBC-2D8A3E5B5B19}" srcId="{FDCB1D67-3592-4ED3-BCCB-2B22280C685C}" destId="{A5A3C7EA-17B6-4ECE-8519-8D2C494F6F6C}" srcOrd="3" destOrd="0" parTransId="{ED39FBB6-F69D-4EE6-A2DE-E110494C132F}" sibTransId="{25C9B537-12E8-4BAB-9B6F-930E8EAFBFD3}"/>
    <dgm:cxn modelId="{8AB8E425-AD40-4DB3-B305-05225D5686BC}" srcId="{FDCB1D67-3592-4ED3-BCCB-2B22280C685C}" destId="{B2199A7C-EBBC-4447-B0E7-47F6F465D438}" srcOrd="0" destOrd="0" parTransId="{AD2B9281-9D93-47B6-AD8F-0E143E3D2E26}" sibTransId="{E03BE13D-D337-4398-BCFC-A307FB34D33D}"/>
    <dgm:cxn modelId="{D4D9CF2F-6C53-4DA7-9988-9C889801FBDB}" type="presOf" srcId="{FDCB1D67-3592-4ED3-BCCB-2B22280C685C}" destId="{AC5F158E-0A3E-4BE1-B70F-A0AB135F16DA}" srcOrd="0" destOrd="0" presId="urn:microsoft.com/office/officeart/2005/8/layout/bProcess4"/>
    <dgm:cxn modelId="{78DF4933-4DF9-4722-BFCB-9D9A1F4E54E8}" type="presOf" srcId="{BFF2440E-B95E-4AFB-A8CF-0AE3F9E7100F}" destId="{ACF183F3-FEE0-42CA-9858-63F10A54B5D6}" srcOrd="0" destOrd="0" presId="urn:microsoft.com/office/officeart/2005/8/layout/bProcess4"/>
    <dgm:cxn modelId="{56976635-9D74-421D-A1B2-C7FC99097A3E}" type="presOf" srcId="{E03BE13D-D337-4398-BCFC-A307FB34D33D}" destId="{C53EAEBB-2233-4775-BFE2-C790DEFBDB7B}" srcOrd="0" destOrd="0" presId="urn:microsoft.com/office/officeart/2005/8/layout/bProcess4"/>
    <dgm:cxn modelId="{43630160-B336-4490-9BEE-302D658FCE1B}" type="presOf" srcId="{BB60A9AF-E071-47BE-B6FB-03B31E09A386}" destId="{5C2849F5-C4AA-43E8-9A3F-AC019F385501}" srcOrd="0" destOrd="0" presId="urn:microsoft.com/office/officeart/2005/8/layout/bProcess4"/>
    <dgm:cxn modelId="{531ECE4E-F78A-4029-B27B-F8D0DB751D6E}" srcId="{FDCB1D67-3592-4ED3-BCCB-2B22280C685C}" destId="{04088481-51D0-46C1-8B99-5136145B764E}" srcOrd="4" destOrd="0" parTransId="{CED738B8-1DBC-4980-8CAB-60ACBDD56250}" sibTransId="{BB60A9AF-E071-47BE-B6FB-03B31E09A386}"/>
    <dgm:cxn modelId="{9867034F-2548-4382-8C92-BDDFF5FD44BC}" type="presOf" srcId="{B2199A7C-EBBC-4447-B0E7-47F6F465D438}" destId="{5A2BB93F-A7B3-4821-851E-3FAF77C384AB}" srcOrd="0" destOrd="0" presId="urn:microsoft.com/office/officeart/2005/8/layout/bProcess4"/>
    <dgm:cxn modelId="{1A0B0876-322E-4362-A312-4FA20C1A5433}" type="presOf" srcId="{04088481-51D0-46C1-8B99-5136145B764E}" destId="{D83AEE4F-F983-47FA-A5ED-0DBB71AC60F0}" srcOrd="0" destOrd="0" presId="urn:microsoft.com/office/officeart/2005/8/layout/bProcess4"/>
    <dgm:cxn modelId="{810BD557-22EA-489B-A95E-7BA5383D7F90}" type="presOf" srcId="{A5A3C7EA-17B6-4ECE-8519-8D2C494F6F6C}" destId="{E9613875-3576-4801-ADAF-2C66EE7DF432}" srcOrd="0" destOrd="0" presId="urn:microsoft.com/office/officeart/2005/8/layout/bProcess4"/>
    <dgm:cxn modelId="{5A86527F-3B7B-4BD3-AF2D-28D9DD71A98A}" type="presOf" srcId="{B1C2C79B-6E7B-45DD-BB24-BCF3E5B86703}" destId="{629390A3-B13A-4A9B-9F10-A27A561D07DE}" srcOrd="0" destOrd="0" presId="urn:microsoft.com/office/officeart/2005/8/layout/bProcess4"/>
    <dgm:cxn modelId="{3BE32D89-C591-4586-9C75-4AFDC8295B50}" srcId="{FDCB1D67-3592-4ED3-BCCB-2B22280C685C}" destId="{43BE2258-202E-484C-BB97-4EB81AB4747E}" srcOrd="1" destOrd="0" parTransId="{7BCF83FD-FA04-471F-915D-D25F73E3D93D}" sibTransId="{BFF2440E-B95E-4AFB-A8CF-0AE3F9E7100F}"/>
    <dgm:cxn modelId="{359204AA-0E99-4831-B48D-8EA6865E64FB}" type="presOf" srcId="{6FC3E73E-DE80-4EB7-BF82-E525B8BCBE4E}" destId="{98F561F2-CEEB-49A1-BF47-43925CD4338A}" srcOrd="0" destOrd="0" presId="urn:microsoft.com/office/officeart/2005/8/layout/bProcess4"/>
    <dgm:cxn modelId="{F4FE4AB3-0C27-4D7B-BB21-FFBE397E1CC2}" srcId="{FDCB1D67-3592-4ED3-BCCB-2B22280C685C}" destId="{6FC3E73E-DE80-4EB7-BF82-E525B8BCBE4E}" srcOrd="2" destOrd="0" parTransId="{812C210C-E241-4708-BADF-08A42F11FF8A}" sibTransId="{874D84E4-347A-4531-9AC2-888E9BF2DA55}"/>
    <dgm:cxn modelId="{26ACE3C1-D21E-440F-A043-E039AC48DACD}" type="presOf" srcId="{25C9B537-12E8-4BAB-9B6F-930E8EAFBFD3}" destId="{B3A7155C-A551-4AE4-AED8-33F18E5B592E}" srcOrd="0" destOrd="0" presId="urn:microsoft.com/office/officeart/2005/8/layout/bProcess4"/>
    <dgm:cxn modelId="{1D23C3CE-9A7E-4158-954E-D44BD301C42B}" srcId="{FDCB1D67-3592-4ED3-BCCB-2B22280C685C}" destId="{B1C2C79B-6E7B-45DD-BB24-BCF3E5B86703}" srcOrd="5" destOrd="0" parTransId="{D2408685-2104-4BB3-9205-22D62F1F5332}" sibTransId="{7BB5C6DD-6786-49AC-8F0A-75D50979DC65}"/>
    <dgm:cxn modelId="{1F6BFB22-9476-4CDE-9E95-A8A610506118}" type="presParOf" srcId="{AC5F158E-0A3E-4BE1-B70F-A0AB135F16DA}" destId="{D08CEE34-3CB1-4B4D-9886-680AC4375880}" srcOrd="0" destOrd="0" presId="urn:microsoft.com/office/officeart/2005/8/layout/bProcess4"/>
    <dgm:cxn modelId="{7730DED7-61AE-45C0-B90C-7D575CE731C9}" type="presParOf" srcId="{D08CEE34-3CB1-4B4D-9886-680AC4375880}" destId="{855E2B23-ECC5-4B61-ADEB-74B3692C79CE}" srcOrd="0" destOrd="0" presId="urn:microsoft.com/office/officeart/2005/8/layout/bProcess4"/>
    <dgm:cxn modelId="{948EC2A5-A87F-44B9-A549-93F6F84AC3A1}" type="presParOf" srcId="{D08CEE34-3CB1-4B4D-9886-680AC4375880}" destId="{5A2BB93F-A7B3-4821-851E-3FAF77C384AB}" srcOrd="1" destOrd="0" presId="urn:microsoft.com/office/officeart/2005/8/layout/bProcess4"/>
    <dgm:cxn modelId="{164E1A0E-E26D-4ADC-94FF-D5405B078159}" type="presParOf" srcId="{AC5F158E-0A3E-4BE1-B70F-A0AB135F16DA}" destId="{C53EAEBB-2233-4775-BFE2-C790DEFBDB7B}" srcOrd="1" destOrd="0" presId="urn:microsoft.com/office/officeart/2005/8/layout/bProcess4"/>
    <dgm:cxn modelId="{A34696B1-40FE-4971-8CA8-6EDB7914B9BA}" type="presParOf" srcId="{AC5F158E-0A3E-4BE1-B70F-A0AB135F16DA}" destId="{8747B53A-0460-4953-AF21-438DE7017F5B}" srcOrd="2" destOrd="0" presId="urn:microsoft.com/office/officeart/2005/8/layout/bProcess4"/>
    <dgm:cxn modelId="{BE730C78-2A46-4AAB-A5F6-C9F6F58E7A3C}" type="presParOf" srcId="{8747B53A-0460-4953-AF21-438DE7017F5B}" destId="{E892594A-9B53-4B42-87DD-EEAF053CCEF1}" srcOrd="0" destOrd="0" presId="urn:microsoft.com/office/officeart/2005/8/layout/bProcess4"/>
    <dgm:cxn modelId="{B17C576D-27DE-4DE6-A295-3D15AFDCEB13}" type="presParOf" srcId="{8747B53A-0460-4953-AF21-438DE7017F5B}" destId="{799D7B68-65B4-4E81-9058-F231A725B292}" srcOrd="1" destOrd="0" presId="urn:microsoft.com/office/officeart/2005/8/layout/bProcess4"/>
    <dgm:cxn modelId="{73534E56-3D85-4ADA-90E5-2570898E941D}" type="presParOf" srcId="{AC5F158E-0A3E-4BE1-B70F-A0AB135F16DA}" destId="{ACF183F3-FEE0-42CA-9858-63F10A54B5D6}" srcOrd="3" destOrd="0" presId="urn:microsoft.com/office/officeart/2005/8/layout/bProcess4"/>
    <dgm:cxn modelId="{D40B847D-DB69-438A-A9E0-FCD0077F900F}" type="presParOf" srcId="{AC5F158E-0A3E-4BE1-B70F-A0AB135F16DA}" destId="{083EE973-18CD-4CAC-9696-5C959E40AA87}" srcOrd="4" destOrd="0" presId="urn:microsoft.com/office/officeart/2005/8/layout/bProcess4"/>
    <dgm:cxn modelId="{9D8E1313-682C-4D20-BB7A-6112411DEF9B}" type="presParOf" srcId="{083EE973-18CD-4CAC-9696-5C959E40AA87}" destId="{63D42682-7E8E-4E1E-9DA6-736372AEB36C}" srcOrd="0" destOrd="0" presId="urn:microsoft.com/office/officeart/2005/8/layout/bProcess4"/>
    <dgm:cxn modelId="{C92CD80E-104F-4130-9AB2-C65B4CA199C3}" type="presParOf" srcId="{083EE973-18CD-4CAC-9696-5C959E40AA87}" destId="{98F561F2-CEEB-49A1-BF47-43925CD4338A}" srcOrd="1" destOrd="0" presId="urn:microsoft.com/office/officeart/2005/8/layout/bProcess4"/>
    <dgm:cxn modelId="{0C85CB6D-E6B0-4E05-B695-1E4DADA5CED4}" type="presParOf" srcId="{AC5F158E-0A3E-4BE1-B70F-A0AB135F16DA}" destId="{8325EC99-DDE6-4896-8EED-D61C2C9DED16}" srcOrd="5" destOrd="0" presId="urn:microsoft.com/office/officeart/2005/8/layout/bProcess4"/>
    <dgm:cxn modelId="{479D3BD5-5CAF-40CF-BB3D-486C82A62D06}" type="presParOf" srcId="{AC5F158E-0A3E-4BE1-B70F-A0AB135F16DA}" destId="{FFBAD12A-A9CF-4785-B1F2-01C61484F895}" srcOrd="6" destOrd="0" presId="urn:microsoft.com/office/officeart/2005/8/layout/bProcess4"/>
    <dgm:cxn modelId="{A1614CBE-7B98-42A3-9020-8A5DBB05F304}" type="presParOf" srcId="{FFBAD12A-A9CF-4785-B1F2-01C61484F895}" destId="{88CC640E-AB9B-42A1-AA1C-66760258F09B}" srcOrd="0" destOrd="0" presId="urn:microsoft.com/office/officeart/2005/8/layout/bProcess4"/>
    <dgm:cxn modelId="{A830E95D-D719-4450-9440-317F3BC05C00}" type="presParOf" srcId="{FFBAD12A-A9CF-4785-B1F2-01C61484F895}" destId="{E9613875-3576-4801-ADAF-2C66EE7DF432}" srcOrd="1" destOrd="0" presId="urn:microsoft.com/office/officeart/2005/8/layout/bProcess4"/>
    <dgm:cxn modelId="{46802DBC-93B8-4F05-ABFD-A427B46D9093}" type="presParOf" srcId="{AC5F158E-0A3E-4BE1-B70F-A0AB135F16DA}" destId="{B3A7155C-A551-4AE4-AED8-33F18E5B592E}" srcOrd="7" destOrd="0" presId="urn:microsoft.com/office/officeart/2005/8/layout/bProcess4"/>
    <dgm:cxn modelId="{98A5C4E5-4D1A-4A50-BA2D-3D79BDAC5CA1}" type="presParOf" srcId="{AC5F158E-0A3E-4BE1-B70F-A0AB135F16DA}" destId="{CEF10265-2B59-459B-A4CD-8B67082C4419}" srcOrd="8" destOrd="0" presId="urn:microsoft.com/office/officeart/2005/8/layout/bProcess4"/>
    <dgm:cxn modelId="{0457A5A2-7C95-43B8-98A9-C7C5E87FCB86}" type="presParOf" srcId="{CEF10265-2B59-459B-A4CD-8B67082C4419}" destId="{12FA4770-DB6C-4066-93BD-F46FEF1999FF}" srcOrd="0" destOrd="0" presId="urn:microsoft.com/office/officeart/2005/8/layout/bProcess4"/>
    <dgm:cxn modelId="{965AD558-578D-45A5-8285-B3AEC5B2B7E5}" type="presParOf" srcId="{CEF10265-2B59-459B-A4CD-8B67082C4419}" destId="{D83AEE4F-F983-47FA-A5ED-0DBB71AC60F0}" srcOrd="1" destOrd="0" presId="urn:microsoft.com/office/officeart/2005/8/layout/bProcess4"/>
    <dgm:cxn modelId="{2B9D1451-70B6-45DB-9501-B9910E573152}" type="presParOf" srcId="{AC5F158E-0A3E-4BE1-B70F-A0AB135F16DA}" destId="{5C2849F5-C4AA-43E8-9A3F-AC019F385501}" srcOrd="9" destOrd="0" presId="urn:microsoft.com/office/officeart/2005/8/layout/bProcess4"/>
    <dgm:cxn modelId="{B483626B-4213-446B-B867-6A31D5EC6037}" type="presParOf" srcId="{AC5F158E-0A3E-4BE1-B70F-A0AB135F16DA}" destId="{55175DC8-F381-4A62-8A1C-55B2EE2F2332}" srcOrd="10" destOrd="0" presId="urn:microsoft.com/office/officeart/2005/8/layout/bProcess4"/>
    <dgm:cxn modelId="{D42D32C3-C539-47DD-8F51-88476FB709DF}" type="presParOf" srcId="{55175DC8-F381-4A62-8A1C-55B2EE2F2332}" destId="{AEAD1030-2798-4C95-969A-2423FB094EEB}" srcOrd="0" destOrd="0" presId="urn:microsoft.com/office/officeart/2005/8/layout/bProcess4"/>
    <dgm:cxn modelId="{D81B1E88-F3F5-4D46-8BAD-DC95F671E1E4}" type="presParOf" srcId="{55175DC8-F381-4A62-8A1C-55B2EE2F2332}" destId="{629390A3-B13A-4A9B-9F10-A27A561D07DE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FA36C3-D171-4CDD-8628-DA4403C3B1C1}">
      <dsp:nvSpPr>
        <dsp:cNvPr id="0" name=""/>
        <dsp:cNvSpPr/>
      </dsp:nvSpPr>
      <dsp:spPr>
        <a:xfrm>
          <a:off x="2964271" y="511"/>
          <a:ext cx="1430036" cy="1430036"/>
        </a:xfrm>
        <a:prstGeom prst="ellips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tx2"/>
              </a:solidFill>
            </a:rPr>
            <a:t>Satisfaction</a:t>
          </a:r>
        </a:p>
      </dsp:txBody>
      <dsp:txXfrm>
        <a:off x="3173695" y="209935"/>
        <a:ext cx="1011188" cy="1011188"/>
      </dsp:txXfrm>
    </dsp:sp>
    <dsp:sp modelId="{F70E886B-1D82-416C-8008-0255160E20B2}">
      <dsp:nvSpPr>
        <dsp:cNvPr id="0" name=""/>
        <dsp:cNvSpPr/>
      </dsp:nvSpPr>
      <dsp:spPr>
        <a:xfrm rot="2160000">
          <a:off x="4348984" y="1098676"/>
          <a:ext cx="379617" cy="4826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4359859" y="1161733"/>
        <a:ext cx="265732" cy="289583"/>
      </dsp:txXfrm>
    </dsp:sp>
    <dsp:sp modelId="{597665A0-DD09-45D7-BC8B-56761F114620}">
      <dsp:nvSpPr>
        <dsp:cNvPr id="0" name=""/>
        <dsp:cNvSpPr/>
      </dsp:nvSpPr>
      <dsp:spPr>
        <a:xfrm>
          <a:off x="4700661" y="1262072"/>
          <a:ext cx="1430036" cy="1430036"/>
        </a:xfrm>
        <a:prstGeom prst="ellipse">
          <a:avLst/>
        </a:prstGeom>
        <a:solidFill>
          <a:schemeClr val="accent2">
            <a:shade val="80000"/>
            <a:hueOff val="105840"/>
            <a:satOff val="-7005"/>
            <a:lumOff val="79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tx2"/>
              </a:solidFill>
            </a:rPr>
            <a:t>Type of travel</a:t>
          </a:r>
        </a:p>
      </dsp:txBody>
      <dsp:txXfrm>
        <a:off x="4910085" y="1471496"/>
        <a:ext cx="1011188" cy="1011188"/>
      </dsp:txXfrm>
    </dsp:sp>
    <dsp:sp modelId="{16EFF4E7-10FF-4FBB-8118-069DACC97BA2}">
      <dsp:nvSpPr>
        <dsp:cNvPr id="0" name=""/>
        <dsp:cNvSpPr/>
      </dsp:nvSpPr>
      <dsp:spPr>
        <a:xfrm rot="6480000">
          <a:off x="4897570" y="2746178"/>
          <a:ext cx="379617" cy="4826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105819"/>
            <a:satOff val="-6913"/>
            <a:lumOff val="74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 rot="10800000">
        <a:off x="4972109" y="2788549"/>
        <a:ext cx="265732" cy="289583"/>
      </dsp:txXfrm>
    </dsp:sp>
    <dsp:sp modelId="{CC89F258-64F3-4AF5-85A1-66902F27B530}">
      <dsp:nvSpPr>
        <dsp:cNvPr id="0" name=""/>
        <dsp:cNvSpPr/>
      </dsp:nvSpPr>
      <dsp:spPr>
        <a:xfrm>
          <a:off x="4037419" y="3303321"/>
          <a:ext cx="1430036" cy="1430036"/>
        </a:xfrm>
        <a:prstGeom prst="ellipse">
          <a:avLst/>
        </a:prstGeom>
        <a:solidFill>
          <a:schemeClr val="accent2">
            <a:shade val="80000"/>
            <a:hueOff val="211681"/>
            <a:satOff val="-14010"/>
            <a:lumOff val="158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tx2"/>
              </a:solidFill>
            </a:rPr>
            <a:t>Class</a:t>
          </a:r>
        </a:p>
      </dsp:txBody>
      <dsp:txXfrm>
        <a:off x="4246843" y="3512745"/>
        <a:ext cx="1011188" cy="1011188"/>
      </dsp:txXfrm>
    </dsp:sp>
    <dsp:sp modelId="{ADFD09D2-9086-458F-B3F8-33370A2D8BFC}">
      <dsp:nvSpPr>
        <dsp:cNvPr id="0" name=""/>
        <dsp:cNvSpPr/>
      </dsp:nvSpPr>
      <dsp:spPr>
        <a:xfrm rot="10800000">
          <a:off x="3500225" y="3777021"/>
          <a:ext cx="379617" cy="4826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211638"/>
            <a:satOff val="-13825"/>
            <a:lumOff val="1483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 rot="10800000">
        <a:off x="3614110" y="3873548"/>
        <a:ext cx="265732" cy="289583"/>
      </dsp:txXfrm>
    </dsp:sp>
    <dsp:sp modelId="{1AEE4245-BFBE-4A0D-B599-E3D82D3FDC09}">
      <dsp:nvSpPr>
        <dsp:cNvPr id="0" name=""/>
        <dsp:cNvSpPr/>
      </dsp:nvSpPr>
      <dsp:spPr>
        <a:xfrm>
          <a:off x="1891123" y="3303321"/>
          <a:ext cx="1430036" cy="1430036"/>
        </a:xfrm>
        <a:prstGeom prst="ellipse">
          <a:avLst/>
        </a:prstGeom>
        <a:solidFill>
          <a:schemeClr val="accent2">
            <a:shade val="80000"/>
            <a:hueOff val="317521"/>
            <a:satOff val="-21014"/>
            <a:lumOff val="238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tx2"/>
              </a:solidFill>
            </a:rPr>
            <a:t>Customer Type</a:t>
          </a:r>
        </a:p>
      </dsp:txBody>
      <dsp:txXfrm>
        <a:off x="2100547" y="3512745"/>
        <a:ext cx="1011188" cy="1011188"/>
      </dsp:txXfrm>
    </dsp:sp>
    <dsp:sp modelId="{30B15D77-BE21-4889-A675-B50CFD1E0927}">
      <dsp:nvSpPr>
        <dsp:cNvPr id="0" name=""/>
        <dsp:cNvSpPr/>
      </dsp:nvSpPr>
      <dsp:spPr>
        <a:xfrm rot="15120000">
          <a:off x="2088031" y="2766615"/>
          <a:ext cx="379617" cy="4826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317458"/>
            <a:satOff val="-20738"/>
            <a:lumOff val="222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 rot="10800000">
        <a:off x="2162570" y="2917298"/>
        <a:ext cx="265732" cy="289583"/>
      </dsp:txXfrm>
    </dsp:sp>
    <dsp:sp modelId="{83A4E9C0-8415-44B6-8774-61994D6C3F68}">
      <dsp:nvSpPr>
        <dsp:cNvPr id="0" name=""/>
        <dsp:cNvSpPr/>
      </dsp:nvSpPr>
      <dsp:spPr>
        <a:xfrm>
          <a:off x="1227881" y="1262072"/>
          <a:ext cx="1430036" cy="1430036"/>
        </a:xfrm>
        <a:prstGeom prst="ellipse">
          <a:avLst/>
        </a:prstGeom>
        <a:solidFill>
          <a:schemeClr val="accent2">
            <a:shade val="80000"/>
            <a:hueOff val="423362"/>
            <a:satOff val="-28019"/>
            <a:lumOff val="31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tx2"/>
              </a:solidFill>
            </a:rPr>
            <a:t>Gender</a:t>
          </a:r>
        </a:p>
      </dsp:txBody>
      <dsp:txXfrm>
        <a:off x="1437305" y="1471496"/>
        <a:ext cx="1011188" cy="1011188"/>
      </dsp:txXfrm>
    </dsp:sp>
    <dsp:sp modelId="{7619D44B-F0C8-44BE-BE60-C00D0C16C56D}">
      <dsp:nvSpPr>
        <dsp:cNvPr id="0" name=""/>
        <dsp:cNvSpPr/>
      </dsp:nvSpPr>
      <dsp:spPr>
        <a:xfrm rot="19440000">
          <a:off x="2612594" y="1111306"/>
          <a:ext cx="379617" cy="4826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shade val="90000"/>
            <a:hueOff val="423277"/>
            <a:satOff val="-27650"/>
            <a:lumOff val="2966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2623469" y="1241303"/>
        <a:ext cx="265732" cy="28958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21A17C-6E67-41B7-B1FC-97601D0980D1}">
      <dsp:nvSpPr>
        <dsp:cNvPr id="0" name=""/>
        <dsp:cNvSpPr/>
      </dsp:nvSpPr>
      <dsp:spPr>
        <a:xfrm rot="5400000">
          <a:off x="-278516" y="880596"/>
          <a:ext cx="1235508" cy="149125"/>
        </a:xfrm>
        <a:prstGeom prst="rect">
          <a:avLst/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47EAF9-89A6-489A-A8CB-CE63410F25E6}">
      <dsp:nvSpPr>
        <dsp:cNvPr id="0" name=""/>
        <dsp:cNvSpPr/>
      </dsp:nvSpPr>
      <dsp:spPr>
        <a:xfrm>
          <a:off x="4243" y="89939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Departure/Arrival time convenient</a:t>
          </a:r>
        </a:p>
      </dsp:txBody>
      <dsp:txXfrm>
        <a:off x="33361" y="119057"/>
        <a:ext cx="1598718" cy="935936"/>
      </dsp:txXfrm>
    </dsp:sp>
    <dsp:sp modelId="{95E26C4A-0DD4-4AC8-AA17-8D07F538EEAE}">
      <dsp:nvSpPr>
        <dsp:cNvPr id="0" name=""/>
        <dsp:cNvSpPr/>
      </dsp:nvSpPr>
      <dsp:spPr>
        <a:xfrm rot="5400000">
          <a:off x="-278516" y="2123312"/>
          <a:ext cx="1235508" cy="149125"/>
        </a:xfrm>
        <a:prstGeom prst="rect">
          <a:avLst/>
        </a:prstGeom>
        <a:solidFill>
          <a:schemeClr val="accent2">
            <a:shade val="90000"/>
            <a:hueOff val="35273"/>
            <a:satOff val="-2304"/>
            <a:lumOff val="247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83D488-17B8-42FE-A9B9-223EAEE11C57}">
      <dsp:nvSpPr>
        <dsp:cNvPr id="0" name=""/>
        <dsp:cNvSpPr/>
      </dsp:nvSpPr>
      <dsp:spPr>
        <a:xfrm>
          <a:off x="4243" y="1332655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32566"/>
            <a:satOff val="-2155"/>
            <a:lumOff val="24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Inflight </a:t>
          </a:r>
          <a:r>
            <a:rPr lang="en-GB" sz="1400" b="1" kern="1200" dirty="0" err="1">
              <a:solidFill>
                <a:schemeClr val="tx2"/>
              </a:solidFill>
            </a:rPr>
            <a:t>wifi</a:t>
          </a:r>
          <a:r>
            <a:rPr lang="en-GB" sz="1400" b="1" kern="1200" dirty="0">
              <a:solidFill>
                <a:schemeClr val="tx2"/>
              </a:solidFill>
            </a:rPr>
            <a:t> service</a:t>
          </a:r>
        </a:p>
      </dsp:txBody>
      <dsp:txXfrm>
        <a:off x="33361" y="1361773"/>
        <a:ext cx="1598718" cy="935936"/>
      </dsp:txXfrm>
    </dsp:sp>
    <dsp:sp modelId="{5EF5E3BE-088B-449E-9A3A-23C37FC142A5}">
      <dsp:nvSpPr>
        <dsp:cNvPr id="0" name=""/>
        <dsp:cNvSpPr/>
      </dsp:nvSpPr>
      <dsp:spPr>
        <a:xfrm rot="5400000">
          <a:off x="-278516" y="3366028"/>
          <a:ext cx="1235508" cy="149125"/>
        </a:xfrm>
        <a:prstGeom prst="rect">
          <a:avLst/>
        </a:prstGeom>
        <a:solidFill>
          <a:schemeClr val="accent2">
            <a:shade val="90000"/>
            <a:hueOff val="70546"/>
            <a:satOff val="-4608"/>
            <a:lumOff val="494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B38211-29E1-487D-B7A2-1DC33DF836A9}">
      <dsp:nvSpPr>
        <dsp:cNvPr id="0" name=""/>
        <dsp:cNvSpPr/>
      </dsp:nvSpPr>
      <dsp:spPr>
        <a:xfrm>
          <a:off x="4243" y="2575371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65133"/>
            <a:satOff val="-4311"/>
            <a:lumOff val="48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Ease of online booking</a:t>
          </a:r>
        </a:p>
      </dsp:txBody>
      <dsp:txXfrm>
        <a:off x="33361" y="2604489"/>
        <a:ext cx="1598718" cy="935936"/>
      </dsp:txXfrm>
    </dsp:sp>
    <dsp:sp modelId="{AB56E4A0-62B1-4E68-ADCC-7EC7F861DFF0}">
      <dsp:nvSpPr>
        <dsp:cNvPr id="0" name=""/>
        <dsp:cNvSpPr/>
      </dsp:nvSpPr>
      <dsp:spPr>
        <a:xfrm>
          <a:off x="342841" y="3987386"/>
          <a:ext cx="2196542" cy="149125"/>
        </a:xfrm>
        <a:prstGeom prst="rect">
          <a:avLst/>
        </a:prstGeom>
        <a:solidFill>
          <a:schemeClr val="accent2">
            <a:shade val="90000"/>
            <a:hueOff val="105819"/>
            <a:satOff val="-6913"/>
            <a:lumOff val="74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048277-4E8F-4512-A6FB-ABE7854DE406}">
      <dsp:nvSpPr>
        <dsp:cNvPr id="0" name=""/>
        <dsp:cNvSpPr/>
      </dsp:nvSpPr>
      <dsp:spPr>
        <a:xfrm>
          <a:off x="4243" y="3818087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97699"/>
            <a:satOff val="-6466"/>
            <a:lumOff val="73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Gate location</a:t>
          </a:r>
        </a:p>
      </dsp:txBody>
      <dsp:txXfrm>
        <a:off x="33361" y="3847205"/>
        <a:ext cx="1598718" cy="935936"/>
      </dsp:txXfrm>
    </dsp:sp>
    <dsp:sp modelId="{49ECF950-B961-46FC-9B83-DE4D472CD15F}">
      <dsp:nvSpPr>
        <dsp:cNvPr id="0" name=""/>
        <dsp:cNvSpPr/>
      </dsp:nvSpPr>
      <dsp:spPr>
        <a:xfrm rot="16200000">
          <a:off x="1925232" y="3366028"/>
          <a:ext cx="1235508" cy="149125"/>
        </a:xfrm>
        <a:prstGeom prst="rect">
          <a:avLst/>
        </a:prstGeom>
        <a:solidFill>
          <a:schemeClr val="accent2">
            <a:shade val="90000"/>
            <a:hueOff val="141092"/>
            <a:satOff val="-9217"/>
            <a:lumOff val="988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3AB05D-0D18-4279-94CC-1DBF26317F5B}">
      <dsp:nvSpPr>
        <dsp:cNvPr id="0" name=""/>
        <dsp:cNvSpPr/>
      </dsp:nvSpPr>
      <dsp:spPr>
        <a:xfrm>
          <a:off x="2207992" y="3818087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130265"/>
            <a:satOff val="-8621"/>
            <a:lumOff val="97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Food and drink</a:t>
          </a:r>
        </a:p>
      </dsp:txBody>
      <dsp:txXfrm>
        <a:off x="2237110" y="3847205"/>
        <a:ext cx="1598718" cy="935936"/>
      </dsp:txXfrm>
    </dsp:sp>
    <dsp:sp modelId="{41E3E0D5-F011-4E36-B7B9-0D64EA124B7C}">
      <dsp:nvSpPr>
        <dsp:cNvPr id="0" name=""/>
        <dsp:cNvSpPr/>
      </dsp:nvSpPr>
      <dsp:spPr>
        <a:xfrm rot="16200000">
          <a:off x="1925232" y="2123312"/>
          <a:ext cx="1235508" cy="149125"/>
        </a:xfrm>
        <a:prstGeom prst="rect">
          <a:avLst/>
        </a:prstGeom>
        <a:solidFill>
          <a:schemeClr val="accent2">
            <a:shade val="90000"/>
            <a:hueOff val="176365"/>
            <a:satOff val="-11521"/>
            <a:lumOff val="1236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687E1F-5FF5-4FFB-9BED-E48346A58E60}">
      <dsp:nvSpPr>
        <dsp:cNvPr id="0" name=""/>
        <dsp:cNvSpPr/>
      </dsp:nvSpPr>
      <dsp:spPr>
        <a:xfrm>
          <a:off x="2207992" y="2575371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162831"/>
            <a:satOff val="-10777"/>
            <a:lumOff val="1221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Online boarding</a:t>
          </a:r>
        </a:p>
      </dsp:txBody>
      <dsp:txXfrm>
        <a:off x="2237110" y="2604489"/>
        <a:ext cx="1598718" cy="935936"/>
      </dsp:txXfrm>
    </dsp:sp>
    <dsp:sp modelId="{F6BF5F0E-1711-4F44-A249-5CA6FA87A0D9}">
      <dsp:nvSpPr>
        <dsp:cNvPr id="0" name=""/>
        <dsp:cNvSpPr/>
      </dsp:nvSpPr>
      <dsp:spPr>
        <a:xfrm rot="16200000">
          <a:off x="1925232" y="880596"/>
          <a:ext cx="1235508" cy="149125"/>
        </a:xfrm>
        <a:prstGeom prst="rect">
          <a:avLst/>
        </a:prstGeom>
        <a:solidFill>
          <a:schemeClr val="accent2">
            <a:shade val="90000"/>
            <a:hueOff val="211638"/>
            <a:satOff val="-13825"/>
            <a:lumOff val="1483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22B507-D0F3-4C15-8089-D85C55C5428D}">
      <dsp:nvSpPr>
        <dsp:cNvPr id="0" name=""/>
        <dsp:cNvSpPr/>
      </dsp:nvSpPr>
      <dsp:spPr>
        <a:xfrm>
          <a:off x="2207992" y="1332655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195398"/>
            <a:satOff val="-12932"/>
            <a:lumOff val="146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Seat comfort</a:t>
          </a:r>
        </a:p>
      </dsp:txBody>
      <dsp:txXfrm>
        <a:off x="2237110" y="1361773"/>
        <a:ext cx="1598718" cy="935936"/>
      </dsp:txXfrm>
    </dsp:sp>
    <dsp:sp modelId="{CCE60A50-C318-442E-B25D-5902FE4FA202}">
      <dsp:nvSpPr>
        <dsp:cNvPr id="0" name=""/>
        <dsp:cNvSpPr/>
      </dsp:nvSpPr>
      <dsp:spPr>
        <a:xfrm>
          <a:off x="2546590" y="259238"/>
          <a:ext cx="2196542" cy="149125"/>
        </a:xfrm>
        <a:prstGeom prst="rect">
          <a:avLst/>
        </a:prstGeom>
        <a:solidFill>
          <a:schemeClr val="accent2">
            <a:shade val="90000"/>
            <a:hueOff val="246911"/>
            <a:satOff val="-16129"/>
            <a:lumOff val="173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DE573E-42C8-41CB-841A-5382491470A6}">
      <dsp:nvSpPr>
        <dsp:cNvPr id="0" name=""/>
        <dsp:cNvSpPr/>
      </dsp:nvSpPr>
      <dsp:spPr>
        <a:xfrm>
          <a:off x="2207992" y="89939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227964"/>
            <a:satOff val="-15087"/>
            <a:lumOff val="170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Inflight entertainment</a:t>
          </a:r>
        </a:p>
      </dsp:txBody>
      <dsp:txXfrm>
        <a:off x="2237110" y="119057"/>
        <a:ext cx="1598718" cy="935936"/>
      </dsp:txXfrm>
    </dsp:sp>
    <dsp:sp modelId="{A5E382DA-BB4F-40E7-B4B7-E43A80298681}">
      <dsp:nvSpPr>
        <dsp:cNvPr id="0" name=""/>
        <dsp:cNvSpPr/>
      </dsp:nvSpPr>
      <dsp:spPr>
        <a:xfrm rot="5400000">
          <a:off x="4128982" y="880596"/>
          <a:ext cx="1235508" cy="149125"/>
        </a:xfrm>
        <a:prstGeom prst="rect">
          <a:avLst/>
        </a:prstGeom>
        <a:solidFill>
          <a:schemeClr val="accent2">
            <a:shade val="90000"/>
            <a:hueOff val="282184"/>
            <a:satOff val="-18433"/>
            <a:lumOff val="1977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46001-C290-4B19-8021-E69C47627C05}">
      <dsp:nvSpPr>
        <dsp:cNvPr id="0" name=""/>
        <dsp:cNvSpPr/>
      </dsp:nvSpPr>
      <dsp:spPr>
        <a:xfrm>
          <a:off x="4411742" y="89939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260530"/>
            <a:satOff val="-17242"/>
            <a:lumOff val="195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On-board service</a:t>
          </a:r>
        </a:p>
      </dsp:txBody>
      <dsp:txXfrm>
        <a:off x="4440860" y="119057"/>
        <a:ext cx="1598718" cy="935936"/>
      </dsp:txXfrm>
    </dsp:sp>
    <dsp:sp modelId="{96E26D5D-5333-4196-B018-7E9878E11FA5}">
      <dsp:nvSpPr>
        <dsp:cNvPr id="0" name=""/>
        <dsp:cNvSpPr/>
      </dsp:nvSpPr>
      <dsp:spPr>
        <a:xfrm rot="5400000">
          <a:off x="4128982" y="2123312"/>
          <a:ext cx="1235508" cy="149125"/>
        </a:xfrm>
        <a:prstGeom prst="rect">
          <a:avLst/>
        </a:prstGeom>
        <a:solidFill>
          <a:schemeClr val="accent2">
            <a:shade val="90000"/>
            <a:hueOff val="317458"/>
            <a:satOff val="-20738"/>
            <a:lumOff val="222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A3AC77-DD9D-4C52-AFCE-ED59AAA4E81F}">
      <dsp:nvSpPr>
        <dsp:cNvPr id="0" name=""/>
        <dsp:cNvSpPr/>
      </dsp:nvSpPr>
      <dsp:spPr>
        <a:xfrm>
          <a:off x="4411742" y="1332655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293097"/>
            <a:satOff val="-19398"/>
            <a:lumOff val="219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Leg room service</a:t>
          </a:r>
        </a:p>
      </dsp:txBody>
      <dsp:txXfrm>
        <a:off x="4440860" y="1361773"/>
        <a:ext cx="1598718" cy="935936"/>
      </dsp:txXfrm>
    </dsp:sp>
    <dsp:sp modelId="{ACF183F3-FEE0-42CA-9858-63F10A54B5D6}">
      <dsp:nvSpPr>
        <dsp:cNvPr id="0" name=""/>
        <dsp:cNvSpPr/>
      </dsp:nvSpPr>
      <dsp:spPr>
        <a:xfrm rot="5400000">
          <a:off x="4128982" y="3366028"/>
          <a:ext cx="1235508" cy="149125"/>
        </a:xfrm>
        <a:prstGeom prst="rect">
          <a:avLst/>
        </a:prstGeom>
        <a:solidFill>
          <a:schemeClr val="accent2">
            <a:shade val="90000"/>
            <a:hueOff val="352731"/>
            <a:satOff val="-23042"/>
            <a:lumOff val="247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9D7B68-65B4-4E81-9058-F231A725B292}">
      <dsp:nvSpPr>
        <dsp:cNvPr id="0" name=""/>
        <dsp:cNvSpPr/>
      </dsp:nvSpPr>
      <dsp:spPr>
        <a:xfrm>
          <a:off x="4411742" y="2575371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325663"/>
            <a:satOff val="-21553"/>
            <a:lumOff val="244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Baggage handling</a:t>
          </a:r>
        </a:p>
      </dsp:txBody>
      <dsp:txXfrm>
        <a:off x="4440860" y="2604489"/>
        <a:ext cx="1598718" cy="935936"/>
      </dsp:txXfrm>
    </dsp:sp>
    <dsp:sp modelId="{19EB2734-577F-41FB-9AED-18929BB6E08E}">
      <dsp:nvSpPr>
        <dsp:cNvPr id="0" name=""/>
        <dsp:cNvSpPr/>
      </dsp:nvSpPr>
      <dsp:spPr>
        <a:xfrm>
          <a:off x="4750340" y="3987386"/>
          <a:ext cx="2196542" cy="149125"/>
        </a:xfrm>
        <a:prstGeom prst="rect">
          <a:avLst/>
        </a:prstGeom>
        <a:solidFill>
          <a:schemeClr val="accent2">
            <a:shade val="90000"/>
            <a:hueOff val="388004"/>
            <a:satOff val="-25346"/>
            <a:lumOff val="2719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7F6399-83A0-4D26-89B8-7EE93F523CAF}">
      <dsp:nvSpPr>
        <dsp:cNvPr id="0" name=""/>
        <dsp:cNvSpPr/>
      </dsp:nvSpPr>
      <dsp:spPr>
        <a:xfrm>
          <a:off x="4411742" y="3818087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358229"/>
            <a:satOff val="-23708"/>
            <a:lumOff val="2686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Check-in service</a:t>
          </a:r>
        </a:p>
      </dsp:txBody>
      <dsp:txXfrm>
        <a:off x="4440860" y="3847205"/>
        <a:ext cx="1598718" cy="935936"/>
      </dsp:txXfrm>
    </dsp:sp>
    <dsp:sp modelId="{1615DFEE-E594-40FE-B6AB-37D3E9A1E0DF}">
      <dsp:nvSpPr>
        <dsp:cNvPr id="0" name=""/>
        <dsp:cNvSpPr/>
      </dsp:nvSpPr>
      <dsp:spPr>
        <a:xfrm rot="16200000">
          <a:off x="6332732" y="3366028"/>
          <a:ext cx="1235508" cy="149125"/>
        </a:xfrm>
        <a:prstGeom prst="rect">
          <a:avLst/>
        </a:prstGeom>
        <a:solidFill>
          <a:schemeClr val="accent2">
            <a:shade val="90000"/>
            <a:hueOff val="423277"/>
            <a:satOff val="-27650"/>
            <a:lumOff val="2966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D7A85-315C-4BF4-A950-A4B15E212CBD}">
      <dsp:nvSpPr>
        <dsp:cNvPr id="0" name=""/>
        <dsp:cNvSpPr/>
      </dsp:nvSpPr>
      <dsp:spPr>
        <a:xfrm>
          <a:off x="6615492" y="3818087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390796"/>
            <a:satOff val="-25864"/>
            <a:lumOff val="2931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Inflight service</a:t>
          </a:r>
        </a:p>
      </dsp:txBody>
      <dsp:txXfrm>
        <a:off x="6644610" y="3847205"/>
        <a:ext cx="1598718" cy="935936"/>
      </dsp:txXfrm>
    </dsp:sp>
    <dsp:sp modelId="{C76EB326-CE73-4E4C-9E87-FB94846CD38B}">
      <dsp:nvSpPr>
        <dsp:cNvPr id="0" name=""/>
        <dsp:cNvSpPr/>
      </dsp:nvSpPr>
      <dsp:spPr>
        <a:xfrm>
          <a:off x="6615492" y="2575371"/>
          <a:ext cx="1656954" cy="994172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423362"/>
            <a:satOff val="-28019"/>
            <a:lumOff val="31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tx2"/>
              </a:solidFill>
            </a:rPr>
            <a:t>cleanliness</a:t>
          </a:r>
        </a:p>
      </dsp:txBody>
      <dsp:txXfrm>
        <a:off x="6644610" y="2604489"/>
        <a:ext cx="1598718" cy="93593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EAEBB-2233-4775-BFE2-C790DEFBDB7B}">
      <dsp:nvSpPr>
        <dsp:cNvPr id="0" name=""/>
        <dsp:cNvSpPr/>
      </dsp:nvSpPr>
      <dsp:spPr>
        <a:xfrm rot="5400000">
          <a:off x="671497" y="1077058"/>
          <a:ext cx="1678613" cy="202756"/>
        </a:xfrm>
        <a:prstGeom prst="rect">
          <a:avLst/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2BB93F-A7B3-4821-851E-3FAF77C384AB}">
      <dsp:nvSpPr>
        <dsp:cNvPr id="0" name=""/>
        <dsp:cNvSpPr/>
      </dsp:nvSpPr>
      <dsp:spPr>
        <a:xfrm>
          <a:off x="1054723" y="1446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0000"/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Unnamed 0</a:t>
          </a:r>
        </a:p>
      </dsp:txBody>
      <dsp:txXfrm>
        <a:off x="1094313" y="41036"/>
        <a:ext cx="2173666" cy="1272527"/>
      </dsp:txXfrm>
    </dsp:sp>
    <dsp:sp modelId="{ACF183F3-FEE0-42CA-9858-63F10A54B5D6}">
      <dsp:nvSpPr>
        <dsp:cNvPr id="0" name=""/>
        <dsp:cNvSpPr/>
      </dsp:nvSpPr>
      <dsp:spPr>
        <a:xfrm rot="5400000">
          <a:off x="671497" y="2766693"/>
          <a:ext cx="1678613" cy="202756"/>
        </a:xfrm>
        <a:prstGeom prst="rect">
          <a:avLst/>
        </a:prstGeom>
        <a:solidFill>
          <a:schemeClr val="accent2">
            <a:shade val="90000"/>
            <a:hueOff val="105819"/>
            <a:satOff val="-6913"/>
            <a:lumOff val="74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9D7B68-65B4-4E81-9058-F231A725B292}">
      <dsp:nvSpPr>
        <dsp:cNvPr id="0" name=""/>
        <dsp:cNvSpPr/>
      </dsp:nvSpPr>
      <dsp:spPr>
        <a:xfrm>
          <a:off x="1054723" y="1691081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84672"/>
            <a:satOff val="-5604"/>
            <a:lumOff val="6350"/>
            <a:alphaOff val="0"/>
          </a:schemeClr>
        </a:solidFill>
        <a:ln w="25400" cap="flat" cmpd="sng" algn="ctr">
          <a:solidFill>
            <a:srgbClr val="FF0000"/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id</a:t>
          </a:r>
        </a:p>
      </dsp:txBody>
      <dsp:txXfrm>
        <a:off x="1094313" y="1730671"/>
        <a:ext cx="2173666" cy="1272527"/>
      </dsp:txXfrm>
    </dsp:sp>
    <dsp:sp modelId="{8325EC99-DDE6-4896-8EED-D61C2C9DED16}">
      <dsp:nvSpPr>
        <dsp:cNvPr id="0" name=""/>
        <dsp:cNvSpPr/>
      </dsp:nvSpPr>
      <dsp:spPr>
        <a:xfrm>
          <a:off x="1516314" y="3611511"/>
          <a:ext cx="2985264" cy="202756"/>
        </a:xfrm>
        <a:prstGeom prst="rect">
          <a:avLst/>
        </a:prstGeom>
        <a:solidFill>
          <a:schemeClr val="accent2">
            <a:shade val="90000"/>
            <a:hueOff val="211638"/>
            <a:satOff val="-13825"/>
            <a:lumOff val="1483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F561F2-CEEB-49A1-BF47-43925CD4338A}">
      <dsp:nvSpPr>
        <dsp:cNvPr id="0" name=""/>
        <dsp:cNvSpPr/>
      </dsp:nvSpPr>
      <dsp:spPr>
        <a:xfrm>
          <a:off x="1054723" y="3380715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169345"/>
            <a:satOff val="-11208"/>
            <a:lumOff val="1270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Age</a:t>
          </a:r>
        </a:p>
      </dsp:txBody>
      <dsp:txXfrm>
        <a:off x="1094313" y="3420305"/>
        <a:ext cx="2173666" cy="1272527"/>
      </dsp:txXfrm>
    </dsp:sp>
    <dsp:sp modelId="{B3A7155C-A551-4AE4-AED8-33F18E5B592E}">
      <dsp:nvSpPr>
        <dsp:cNvPr id="0" name=""/>
        <dsp:cNvSpPr/>
      </dsp:nvSpPr>
      <dsp:spPr>
        <a:xfrm rot="16200000">
          <a:off x="3667783" y="2766693"/>
          <a:ext cx="1678613" cy="202756"/>
        </a:xfrm>
        <a:prstGeom prst="rect">
          <a:avLst/>
        </a:prstGeom>
        <a:solidFill>
          <a:schemeClr val="accent2">
            <a:shade val="90000"/>
            <a:hueOff val="317458"/>
            <a:satOff val="-20738"/>
            <a:lumOff val="222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613875-3576-4801-ADAF-2C66EE7DF432}">
      <dsp:nvSpPr>
        <dsp:cNvPr id="0" name=""/>
        <dsp:cNvSpPr/>
      </dsp:nvSpPr>
      <dsp:spPr>
        <a:xfrm>
          <a:off x="4051009" y="3380715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254017"/>
            <a:satOff val="-16811"/>
            <a:lumOff val="190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Flight distance</a:t>
          </a:r>
        </a:p>
      </dsp:txBody>
      <dsp:txXfrm>
        <a:off x="4090599" y="3420305"/>
        <a:ext cx="2173666" cy="1272527"/>
      </dsp:txXfrm>
    </dsp:sp>
    <dsp:sp modelId="{5C2849F5-C4AA-43E8-9A3F-AC019F385501}">
      <dsp:nvSpPr>
        <dsp:cNvPr id="0" name=""/>
        <dsp:cNvSpPr/>
      </dsp:nvSpPr>
      <dsp:spPr>
        <a:xfrm rot="16200000">
          <a:off x="3667783" y="1077058"/>
          <a:ext cx="1678613" cy="202756"/>
        </a:xfrm>
        <a:prstGeom prst="rect">
          <a:avLst/>
        </a:prstGeom>
        <a:solidFill>
          <a:schemeClr val="accent2">
            <a:shade val="90000"/>
            <a:hueOff val="423277"/>
            <a:satOff val="-27650"/>
            <a:lumOff val="2966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3AEE4F-F983-47FA-A5ED-0DBB71AC60F0}">
      <dsp:nvSpPr>
        <dsp:cNvPr id="0" name=""/>
        <dsp:cNvSpPr/>
      </dsp:nvSpPr>
      <dsp:spPr>
        <a:xfrm>
          <a:off x="4051009" y="1691081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338689"/>
            <a:satOff val="-22415"/>
            <a:lumOff val="254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Departure delay in minutes</a:t>
          </a:r>
        </a:p>
      </dsp:txBody>
      <dsp:txXfrm>
        <a:off x="4090599" y="1730671"/>
        <a:ext cx="2173666" cy="1272527"/>
      </dsp:txXfrm>
    </dsp:sp>
    <dsp:sp modelId="{629390A3-B13A-4A9B-9F10-A27A561D07DE}">
      <dsp:nvSpPr>
        <dsp:cNvPr id="0" name=""/>
        <dsp:cNvSpPr/>
      </dsp:nvSpPr>
      <dsp:spPr>
        <a:xfrm>
          <a:off x="4051009" y="1446"/>
          <a:ext cx="2252846" cy="1351707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423362"/>
            <a:satOff val="-28019"/>
            <a:lumOff val="31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2"/>
              </a:solidFill>
            </a:rPr>
            <a:t>Arrival delay in minutes</a:t>
          </a:r>
        </a:p>
      </dsp:txBody>
      <dsp:txXfrm>
        <a:off x="4090599" y="41036"/>
        <a:ext cx="2173666" cy="12725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NUL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E27CA-030D-4D5F-805B-28D9588CED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47198-B6F7-4AF6-A1F3-3B1E668385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E035CD-BEA9-4B8C-90E1-29D3DFD76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EA6B1-B95B-4EDA-B4A0-AA1FE6742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E08A1C-192A-4AC6-9ED8-A39E8B97B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636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5648A7-26A0-4B09-85C6-D07701429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6E3859-9019-4C7B-AAE5-4A0471701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C2AC85-3A3A-4682-8D90-43DE446715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EAF186-E36E-446D-A672-5D884FAFE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9243A-2A05-4EAE-9601-A6C8F6FFB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3328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430A763-E730-4CD8-9140-B2F4A27654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A34749-D802-41CA-877B-68209AA45B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18B816-B1C5-431F-B814-D6491B6A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32D6A-7004-44B2-8BEB-0307CCF9C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6ACAFD-1D38-4FC3-A77C-259271105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309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2872" b="1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8" y="457199"/>
            <a:ext cx="6203077" cy="3240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025"/>
          <a:stretch/>
        </p:blipFill>
        <p:spPr>
          <a:xfrm>
            <a:off x="597408" y="5879592"/>
            <a:ext cx="5040000" cy="14834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56" y="5246457"/>
            <a:ext cx="1316736" cy="1243806"/>
          </a:xfrm>
          <a:prstGeom prst="rect">
            <a:avLst/>
          </a:prstGeom>
        </p:spPr>
      </p:pic>
      <p:sp>
        <p:nvSpPr>
          <p:cNvPr id="9" name="Rectángulo 8"/>
          <p:cNvSpPr/>
          <p:nvPr userDrawn="1"/>
        </p:nvSpPr>
        <p:spPr>
          <a:xfrm>
            <a:off x="513538" y="5912530"/>
            <a:ext cx="5168169" cy="6125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1400" b="1" noProof="0">
                <a:solidFill>
                  <a:srgbClr val="FFFFFF"/>
                </a:solidFill>
                <a:latin typeface="EYInterstate Light" panose="02000506000000020004" pitchFamily="2" charset="0"/>
              </a:rPr>
              <a:t>The better the question. The better the answer.</a:t>
            </a:r>
          </a:p>
          <a:p>
            <a:pPr>
              <a:spcBef>
                <a:spcPts val="100"/>
              </a:spcBef>
            </a:pPr>
            <a:r>
              <a:rPr lang="en-US" sz="1400" b="1" noProof="0">
                <a:solidFill>
                  <a:srgbClr val="FFFFFF"/>
                </a:solidFill>
                <a:latin typeface="EYInterstate Light" panose="02000506000000020004" pitchFamily="2" charset="0"/>
              </a:rPr>
              <a:t>The better the world Works.</a:t>
            </a:r>
          </a:p>
        </p:txBody>
      </p:sp>
    </p:spTree>
    <p:extLst>
      <p:ext uri="{BB962C8B-B14F-4D97-AF65-F5344CB8AC3E}">
        <p14:creationId xmlns:p14="http://schemas.microsoft.com/office/powerpoint/2010/main" val="29361870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79683" y="332917"/>
            <a:ext cx="9747692" cy="443519"/>
          </a:xfrm>
          <a:prstGeom prst="rect">
            <a:avLst/>
          </a:prstGeom>
        </p:spPr>
        <p:txBody>
          <a:bodyPr anchor="t" anchorCtr="0"/>
          <a:lstStyle>
            <a:lvl1pPr algn="l" defTabSz="666483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808080"/>
              </a:buClr>
              <a:defRPr lang="en-US" sz="2000" kern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pPr lvl="0" algn="l" defTabSz="666483" rtl="0" eaLnBrk="0" fontAlgn="base" hangingPunct="0">
              <a:spcBef>
                <a:spcPts val="393"/>
              </a:spcBef>
              <a:spcAft>
                <a:spcPct val="0"/>
              </a:spcAft>
              <a:buClr>
                <a:srgbClr val="808080"/>
              </a:buClr>
              <a:defRPr/>
            </a:pPr>
            <a:endParaRPr lang="es-ES"/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671503" y="6628255"/>
            <a:ext cx="3487824" cy="998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defTabSz="9217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649">
                <a:solidFill>
                  <a:srgbClr val="7F7E82"/>
                </a:solidFill>
              </a:rPr>
              <a:t>Confidencial – Todos los derechos reservados – EY 201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C34AE6-00F2-4BFB-9387-98480F5486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682" y="116916"/>
            <a:ext cx="6646154" cy="180000"/>
          </a:xfrm>
        </p:spPr>
        <p:txBody>
          <a:bodyPr anchor="ctr"/>
          <a:lstStyle>
            <a:lvl1pPr marL="0" indent="0"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s-ES"/>
              <a:t>Título del capítulo</a:t>
            </a:r>
          </a:p>
        </p:txBody>
      </p:sp>
    </p:spTree>
    <p:extLst>
      <p:ext uri="{BB962C8B-B14F-4D97-AF65-F5344CB8AC3E}">
        <p14:creationId xmlns:p14="http://schemas.microsoft.com/office/powerpoint/2010/main" val="3582472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4887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4" y="160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4" y="160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94930" y="311663"/>
            <a:ext cx="11081362" cy="3539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 defTabSz="499859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808080"/>
              </a:buClr>
              <a:defRPr lang="en-US" sz="2300" kern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pPr lvl="0" algn="l" defTabSz="499859" rtl="0" eaLnBrk="0" fontAlgn="base" hangingPunct="0">
              <a:spcBef>
                <a:spcPts val="295"/>
              </a:spcBef>
              <a:spcAft>
                <a:spcPct val="0"/>
              </a:spcAft>
              <a:buClr>
                <a:srgbClr val="808080"/>
              </a:buCl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9809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425836" y="6346443"/>
            <a:ext cx="2844800" cy="365125"/>
          </a:xfrm>
        </p:spPr>
        <p:txBody>
          <a:bodyPr/>
          <a:lstStyle>
            <a:lvl1pPr algn="l">
              <a:defRPr/>
            </a:lvl1pPr>
          </a:lstStyle>
          <a:p>
            <a:fld id="{C0C548A1-1C0B-EF47-8EAB-B9C926F2A68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3180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999" b="1" i="0" baseline="0">
              <a:solidFill>
                <a:srgbClr val="000000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99"/>
            </a:lvl1pPr>
          </a:lstStyle>
          <a:p>
            <a:r>
              <a:rPr lang="es-ES" noProof="0" err="1"/>
              <a:t>Click</a:t>
            </a:r>
            <a:r>
              <a:rPr lang="es-ES" noProof="0"/>
              <a:t> to </a:t>
            </a:r>
            <a:r>
              <a:rPr lang="es-ES" noProof="0" err="1"/>
              <a:t>edit</a:t>
            </a:r>
            <a:r>
              <a:rPr lang="es-ES" noProof="0"/>
              <a:t> Master </a:t>
            </a:r>
            <a:r>
              <a:rPr lang="es-ES" noProof="0" err="1"/>
              <a:t>title</a:t>
            </a:r>
            <a:r>
              <a:rPr lang="es-ES" noProof="0"/>
              <a:t> </a:t>
            </a:r>
            <a:r>
              <a:rPr lang="es-ES" noProof="0" err="1"/>
              <a:t>style</a:t>
            </a:r>
            <a:endParaRPr lang="es-ES" noProof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2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2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752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3Col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981C3DB-D6B3-4916-949E-6E1ABA0D20E9}"/>
              </a:ext>
            </a:extLst>
          </p:cNvPr>
          <p:cNvSpPr/>
          <p:nvPr userDrawn="1"/>
        </p:nvSpPr>
        <p:spPr>
          <a:xfrm>
            <a:off x="0" y="93"/>
            <a:ext cx="12192000" cy="114389"/>
          </a:xfrm>
          <a:prstGeom prst="rect">
            <a:avLst/>
          </a:prstGeom>
          <a:solidFill>
            <a:schemeClr val="accent2"/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049" tIns="62049" rIns="62049" bIns="62049" rtlCol="0" anchor="ctr"/>
          <a:lstStyle/>
          <a:p>
            <a:pPr algn="ctr" defTabSz="898870"/>
            <a:endParaRPr lang="es-ES" sz="900" b="1">
              <a:solidFill>
                <a:srgbClr val="FFE600"/>
              </a:solidFill>
            </a:endParaRP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A6DD71F-9E0A-455C-B40F-AFE91F9FCC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57092" y="588694"/>
            <a:ext cx="11268000" cy="815769"/>
          </a:xfrm>
        </p:spPr>
        <p:txBody>
          <a:bodyPr/>
          <a:lstStyle>
            <a:lvl1pPr marL="0" indent="0">
              <a:buNone/>
              <a:defRPr lang="en-GB" sz="2400" kern="1200" spc="-131" dirty="0">
                <a:solidFill>
                  <a:schemeClr val="tx1"/>
                </a:solidFill>
                <a:latin typeface="EYInterstate Bold" panose="02000803030000020004" pitchFamily="2" charset="0"/>
                <a:ea typeface="+mn-ea"/>
                <a:cs typeface="Times New Roman"/>
              </a:defRPr>
            </a:lvl1pPr>
          </a:lstStyle>
          <a:p>
            <a:pPr lvl="0"/>
            <a:r>
              <a:rPr lang="es-ES"/>
              <a:t>SUBHEADER STYLE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6A03F166-67D6-461C-9ADF-79A43084B06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57092" y="293823"/>
            <a:ext cx="11268000" cy="294871"/>
          </a:xfrm>
        </p:spPr>
        <p:txBody>
          <a:bodyPr/>
          <a:lstStyle>
            <a:lvl1pPr marL="0" indent="0" algn="l" defTabSz="898870" rtl="0" eaLnBrk="1" latinLnBrk="0" hangingPunct="1">
              <a:lnSpc>
                <a:spcPts val="2189"/>
              </a:lnSpc>
              <a:spcAft>
                <a:spcPts val="0"/>
              </a:spcAft>
              <a:buNone/>
              <a:defRPr lang="en-GB" sz="1600" kern="1200" spc="-131" dirty="0">
                <a:solidFill>
                  <a:schemeClr val="tx1">
                    <a:lumMod val="65000"/>
                    <a:lumOff val="35000"/>
                  </a:schemeClr>
                </a:solidFill>
                <a:latin typeface="EYInterstate Light" panose="02000506000000020004" pitchFamily="2" charset="0"/>
                <a:ea typeface="+mn-ea"/>
                <a:cs typeface="Times New Roman"/>
              </a:defRPr>
            </a:lvl1pPr>
          </a:lstStyle>
          <a:p>
            <a:pPr lvl="0"/>
            <a:r>
              <a:rPr lang="es-ES"/>
              <a:t>// HEADER STYLE</a:t>
            </a:r>
          </a:p>
        </p:txBody>
      </p:sp>
    </p:spTree>
    <p:extLst>
      <p:ext uri="{BB962C8B-B14F-4D97-AF65-F5344CB8AC3E}">
        <p14:creationId xmlns:p14="http://schemas.microsoft.com/office/powerpoint/2010/main" val="177686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7A3EF4-87BC-4EE3-80CC-623736BCE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7A3EF4-87BC-4EE3-80CC-623736BCE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7A47FE-8BB5-4134-AF17-E7DFE137D4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D6A1B48-A41F-49DA-95EC-E0575DE18EA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 5"/>
          <p:cNvSpPr>
            <a:spLocks noChangeAspect="1"/>
          </p:cNvSpPr>
          <p:nvPr userDrawn="1"/>
        </p:nvSpPr>
        <p:spPr bwMode="gray">
          <a:xfrm rot="10800000" flipH="1">
            <a:off x="387183" y="606480"/>
            <a:ext cx="4654717" cy="417099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7724" y="1798641"/>
            <a:ext cx="4073634" cy="547866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77719" y="2747206"/>
            <a:ext cx="4073644" cy="41118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387182" y="5340350"/>
            <a:ext cx="986911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387182" y="5340350"/>
            <a:ext cx="790163" cy="288925"/>
          </a:xfrm>
          <a:custGeom>
            <a:avLst/>
            <a:gdLst>
              <a:gd name="T0" fmla="*/ 2491 w 2491"/>
              <a:gd name="T1" fmla="*/ 0 h 910"/>
              <a:gd name="T2" fmla="*/ 0 w 2491"/>
              <a:gd name="T3" fmla="*/ 910 h 910"/>
              <a:gd name="T4" fmla="*/ 2491 w 2491"/>
              <a:gd name="T5" fmla="*/ 469 h 910"/>
              <a:gd name="T6" fmla="*/ 2491 w 2491"/>
              <a:gd name="T7" fmla="*/ 0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91" h="910">
                <a:moveTo>
                  <a:pt x="2491" y="0"/>
                </a:moveTo>
                <a:lnTo>
                  <a:pt x="0" y="910"/>
                </a:lnTo>
                <a:lnTo>
                  <a:pt x="2491" y="469"/>
                </a:lnTo>
                <a:lnTo>
                  <a:pt x="2491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387182" y="5749925"/>
            <a:ext cx="986911" cy="747713"/>
          </a:xfrm>
          <a:custGeom>
            <a:avLst/>
            <a:gdLst>
              <a:gd name="T0" fmla="*/ 235 w 3110"/>
              <a:gd name="T1" fmla="*/ 1600 h 2357"/>
              <a:gd name="T2" fmla="*/ 255 w 3110"/>
              <a:gd name="T3" fmla="*/ 1809 h 2357"/>
              <a:gd name="T4" fmla="*/ 152 w 3110"/>
              <a:gd name="T5" fmla="*/ 1823 h 2357"/>
              <a:gd name="T6" fmla="*/ 353 w 3110"/>
              <a:gd name="T7" fmla="*/ 1774 h 2357"/>
              <a:gd name="T8" fmla="*/ 419 w 3110"/>
              <a:gd name="T9" fmla="*/ 1871 h 2357"/>
              <a:gd name="T10" fmla="*/ 1148 w 3110"/>
              <a:gd name="T11" fmla="*/ 1664 h 2357"/>
              <a:gd name="T12" fmla="*/ 1225 w 3110"/>
              <a:gd name="T13" fmla="*/ 1751 h 2357"/>
              <a:gd name="T14" fmla="*/ 701 w 3110"/>
              <a:gd name="T15" fmla="*/ 1558 h 2357"/>
              <a:gd name="T16" fmla="*/ 744 w 3110"/>
              <a:gd name="T17" fmla="*/ 1723 h 2357"/>
              <a:gd name="T18" fmla="*/ 866 w 3110"/>
              <a:gd name="T19" fmla="*/ 1868 h 2357"/>
              <a:gd name="T20" fmla="*/ 838 w 3110"/>
              <a:gd name="T21" fmla="*/ 1696 h 2357"/>
              <a:gd name="T22" fmla="*/ 2035 w 3110"/>
              <a:gd name="T23" fmla="*/ 1874 h 2357"/>
              <a:gd name="T24" fmla="*/ 2173 w 3110"/>
              <a:gd name="T25" fmla="*/ 1760 h 2357"/>
              <a:gd name="T26" fmla="*/ 2115 w 3110"/>
              <a:gd name="T27" fmla="*/ 1743 h 2357"/>
              <a:gd name="T28" fmla="*/ 2074 w 3110"/>
              <a:gd name="T29" fmla="*/ 1696 h 2357"/>
              <a:gd name="T30" fmla="*/ 1318 w 3110"/>
              <a:gd name="T31" fmla="*/ 1748 h 2357"/>
              <a:gd name="T32" fmla="*/ 1455 w 3110"/>
              <a:gd name="T33" fmla="*/ 1858 h 2357"/>
              <a:gd name="T34" fmla="*/ 1484 w 3110"/>
              <a:gd name="T35" fmla="*/ 1938 h 2357"/>
              <a:gd name="T36" fmla="*/ 1378 w 3110"/>
              <a:gd name="T37" fmla="*/ 1794 h 2357"/>
              <a:gd name="T38" fmla="*/ 1740 w 3110"/>
              <a:gd name="T39" fmla="*/ 1690 h 2357"/>
              <a:gd name="T40" fmla="*/ 1644 w 3110"/>
              <a:gd name="T41" fmla="*/ 1791 h 2357"/>
              <a:gd name="T42" fmla="*/ 1835 w 3110"/>
              <a:gd name="T43" fmla="*/ 1723 h 2357"/>
              <a:gd name="T44" fmla="*/ 1698 w 3110"/>
              <a:gd name="T45" fmla="*/ 1800 h 2357"/>
              <a:gd name="T46" fmla="*/ 1721 w 3110"/>
              <a:gd name="T47" fmla="*/ 1831 h 2357"/>
              <a:gd name="T48" fmla="*/ 2256 w 3110"/>
              <a:gd name="T49" fmla="*/ 1780 h 2357"/>
              <a:gd name="T50" fmla="*/ 2243 w 3110"/>
              <a:gd name="T51" fmla="*/ 1665 h 2357"/>
              <a:gd name="T52" fmla="*/ 2306 w 3110"/>
              <a:gd name="T53" fmla="*/ 1880 h 2357"/>
              <a:gd name="T54" fmla="*/ 2338 w 3110"/>
              <a:gd name="T55" fmla="*/ 1722 h 2357"/>
              <a:gd name="T56" fmla="*/ 2929 w 3110"/>
              <a:gd name="T57" fmla="*/ 1763 h 2357"/>
              <a:gd name="T58" fmla="*/ 2750 w 3110"/>
              <a:gd name="T59" fmla="*/ 1695 h 2357"/>
              <a:gd name="T60" fmla="*/ 2872 w 3110"/>
              <a:gd name="T61" fmla="*/ 1874 h 2357"/>
              <a:gd name="T62" fmla="*/ 2658 w 3110"/>
              <a:gd name="T63" fmla="*/ 1797 h 2357"/>
              <a:gd name="T64" fmla="*/ 2623 w 3110"/>
              <a:gd name="T65" fmla="*/ 1867 h 2357"/>
              <a:gd name="T66" fmla="*/ 2482 w 3110"/>
              <a:gd name="T67" fmla="*/ 1876 h 2357"/>
              <a:gd name="T68" fmla="*/ 2513 w 3110"/>
              <a:gd name="T69" fmla="*/ 1825 h 2357"/>
              <a:gd name="T70" fmla="*/ 3019 w 3110"/>
              <a:gd name="T71" fmla="*/ 1651 h 2357"/>
              <a:gd name="T72" fmla="*/ 981 w 3110"/>
              <a:gd name="T73" fmla="*/ 1874 h 2357"/>
              <a:gd name="T74" fmla="*/ 2433 w 3110"/>
              <a:gd name="T75" fmla="*/ 2085 h 2357"/>
              <a:gd name="T76" fmla="*/ 2528 w 3110"/>
              <a:gd name="T77" fmla="*/ 2268 h 2357"/>
              <a:gd name="T78" fmla="*/ 2503 w 3110"/>
              <a:gd name="T79" fmla="*/ 2090 h 2357"/>
              <a:gd name="T80" fmla="*/ 631 w 3110"/>
              <a:gd name="T81" fmla="*/ 2093 h 2357"/>
              <a:gd name="T82" fmla="*/ 677 w 3110"/>
              <a:gd name="T83" fmla="*/ 2105 h 2357"/>
              <a:gd name="T84" fmla="*/ 203 w 3110"/>
              <a:gd name="T85" fmla="*/ 2151 h 2357"/>
              <a:gd name="T86" fmla="*/ 312 w 3110"/>
              <a:gd name="T87" fmla="*/ 2190 h 2357"/>
              <a:gd name="T88" fmla="*/ 507 w 3110"/>
              <a:gd name="T89" fmla="*/ 2190 h 2357"/>
              <a:gd name="T90" fmla="*/ 377 w 3110"/>
              <a:gd name="T91" fmla="*/ 2201 h 2357"/>
              <a:gd name="T92" fmla="*/ 442 w 3110"/>
              <a:gd name="T93" fmla="*/ 2201 h 2357"/>
              <a:gd name="T94" fmla="*/ 2213 w 3110"/>
              <a:gd name="T95" fmla="*/ 2056 h 2357"/>
              <a:gd name="T96" fmla="*/ 1608 w 3110"/>
              <a:gd name="T97" fmla="*/ 2042 h 2357"/>
              <a:gd name="T98" fmla="*/ 1951 w 3110"/>
              <a:gd name="T99" fmla="*/ 2062 h 2357"/>
              <a:gd name="T100" fmla="*/ 2016 w 3110"/>
              <a:gd name="T101" fmla="*/ 2271 h 2357"/>
              <a:gd name="T102" fmla="*/ 2075 w 3110"/>
              <a:gd name="T103" fmla="*/ 2057 h 2357"/>
              <a:gd name="T104" fmla="*/ 2016 w 3110"/>
              <a:gd name="T105" fmla="*/ 2089 h 2357"/>
              <a:gd name="T106" fmla="*/ 772 w 3110"/>
              <a:gd name="T107" fmla="*/ 1949 h 2357"/>
              <a:gd name="T108" fmla="*/ 1210 w 3110"/>
              <a:gd name="T109" fmla="*/ 2052 h 2357"/>
              <a:gd name="T110" fmla="*/ 1116 w 3110"/>
              <a:gd name="T111" fmla="*/ 2102 h 2357"/>
              <a:gd name="T112" fmla="*/ 1289 w 3110"/>
              <a:gd name="T113" fmla="*/ 2093 h 2357"/>
              <a:gd name="T114" fmla="*/ 1395 w 3110"/>
              <a:gd name="T115" fmla="*/ 2266 h 2357"/>
              <a:gd name="T116" fmla="*/ 1413 w 3110"/>
              <a:gd name="T117" fmla="*/ 2350 h 2357"/>
              <a:gd name="T118" fmla="*/ 1364 w 3110"/>
              <a:gd name="T119" fmla="*/ 2217 h 2357"/>
              <a:gd name="T120" fmla="*/ 1000 w 3110"/>
              <a:gd name="T121" fmla="*/ 2141 h 2357"/>
              <a:gd name="T122" fmla="*/ 400 w 3110"/>
              <a:gd name="T123" fmla="*/ 970 h 2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10" h="2357">
                <a:moveTo>
                  <a:pt x="259" y="1777"/>
                </a:moveTo>
                <a:lnTo>
                  <a:pt x="259" y="1777"/>
                </a:lnTo>
                <a:lnTo>
                  <a:pt x="259" y="1769"/>
                </a:lnTo>
                <a:lnTo>
                  <a:pt x="258" y="1762"/>
                </a:lnTo>
                <a:lnTo>
                  <a:pt x="255" y="1749"/>
                </a:lnTo>
                <a:lnTo>
                  <a:pt x="249" y="1738"/>
                </a:lnTo>
                <a:lnTo>
                  <a:pt x="242" y="1729"/>
                </a:lnTo>
                <a:lnTo>
                  <a:pt x="235" y="1722"/>
                </a:lnTo>
                <a:lnTo>
                  <a:pt x="227" y="1717"/>
                </a:lnTo>
                <a:lnTo>
                  <a:pt x="220" y="1712"/>
                </a:lnTo>
                <a:lnTo>
                  <a:pt x="213" y="1709"/>
                </a:lnTo>
                <a:lnTo>
                  <a:pt x="213" y="1709"/>
                </a:lnTo>
                <a:lnTo>
                  <a:pt x="221" y="1703"/>
                </a:lnTo>
                <a:lnTo>
                  <a:pt x="228" y="1698"/>
                </a:lnTo>
                <a:lnTo>
                  <a:pt x="233" y="1691"/>
                </a:lnTo>
                <a:lnTo>
                  <a:pt x="239" y="1683"/>
                </a:lnTo>
                <a:lnTo>
                  <a:pt x="243" y="1675"/>
                </a:lnTo>
                <a:lnTo>
                  <a:pt x="246" y="1666"/>
                </a:lnTo>
                <a:lnTo>
                  <a:pt x="248" y="1658"/>
                </a:lnTo>
                <a:lnTo>
                  <a:pt x="248" y="1648"/>
                </a:lnTo>
                <a:lnTo>
                  <a:pt x="248" y="1648"/>
                </a:lnTo>
                <a:lnTo>
                  <a:pt x="248" y="1639"/>
                </a:lnTo>
                <a:lnTo>
                  <a:pt x="247" y="1630"/>
                </a:lnTo>
                <a:lnTo>
                  <a:pt x="245" y="1622"/>
                </a:lnTo>
                <a:lnTo>
                  <a:pt x="242" y="1614"/>
                </a:lnTo>
                <a:lnTo>
                  <a:pt x="239" y="1606"/>
                </a:lnTo>
                <a:lnTo>
                  <a:pt x="235" y="1600"/>
                </a:lnTo>
                <a:lnTo>
                  <a:pt x="229" y="1594"/>
                </a:lnTo>
                <a:lnTo>
                  <a:pt x="223" y="1589"/>
                </a:lnTo>
                <a:lnTo>
                  <a:pt x="217" y="1584"/>
                </a:lnTo>
                <a:lnTo>
                  <a:pt x="210" y="1580"/>
                </a:lnTo>
                <a:lnTo>
                  <a:pt x="202" y="1576"/>
                </a:lnTo>
                <a:lnTo>
                  <a:pt x="193" y="1573"/>
                </a:lnTo>
                <a:lnTo>
                  <a:pt x="185" y="1571"/>
                </a:lnTo>
                <a:lnTo>
                  <a:pt x="175" y="1569"/>
                </a:lnTo>
                <a:lnTo>
                  <a:pt x="165" y="1569"/>
                </a:lnTo>
                <a:lnTo>
                  <a:pt x="153" y="1568"/>
                </a:lnTo>
                <a:lnTo>
                  <a:pt x="22" y="1568"/>
                </a:lnTo>
                <a:lnTo>
                  <a:pt x="22" y="1874"/>
                </a:lnTo>
                <a:lnTo>
                  <a:pt x="152" y="1874"/>
                </a:lnTo>
                <a:lnTo>
                  <a:pt x="152" y="1874"/>
                </a:lnTo>
                <a:lnTo>
                  <a:pt x="165" y="1874"/>
                </a:lnTo>
                <a:lnTo>
                  <a:pt x="176" y="1873"/>
                </a:lnTo>
                <a:lnTo>
                  <a:pt x="187" y="1871"/>
                </a:lnTo>
                <a:lnTo>
                  <a:pt x="197" y="1868"/>
                </a:lnTo>
                <a:lnTo>
                  <a:pt x="207" y="1864"/>
                </a:lnTo>
                <a:lnTo>
                  <a:pt x="216" y="1860"/>
                </a:lnTo>
                <a:lnTo>
                  <a:pt x="223" y="1854"/>
                </a:lnTo>
                <a:lnTo>
                  <a:pt x="230" y="1849"/>
                </a:lnTo>
                <a:lnTo>
                  <a:pt x="237" y="1842"/>
                </a:lnTo>
                <a:lnTo>
                  <a:pt x="242" y="1834"/>
                </a:lnTo>
                <a:lnTo>
                  <a:pt x="248" y="1827"/>
                </a:lnTo>
                <a:lnTo>
                  <a:pt x="251" y="1818"/>
                </a:lnTo>
                <a:lnTo>
                  <a:pt x="255" y="1809"/>
                </a:lnTo>
                <a:lnTo>
                  <a:pt x="257" y="1799"/>
                </a:lnTo>
                <a:lnTo>
                  <a:pt x="258" y="1788"/>
                </a:lnTo>
                <a:lnTo>
                  <a:pt x="259" y="1777"/>
                </a:lnTo>
                <a:lnTo>
                  <a:pt x="259" y="1777"/>
                </a:lnTo>
                <a:close/>
                <a:moveTo>
                  <a:pt x="152" y="1823"/>
                </a:moveTo>
                <a:lnTo>
                  <a:pt x="79" y="1823"/>
                </a:lnTo>
                <a:lnTo>
                  <a:pt x="79" y="1735"/>
                </a:lnTo>
                <a:lnTo>
                  <a:pt x="152" y="1735"/>
                </a:lnTo>
                <a:lnTo>
                  <a:pt x="152" y="1735"/>
                </a:lnTo>
                <a:lnTo>
                  <a:pt x="163" y="1737"/>
                </a:lnTo>
                <a:lnTo>
                  <a:pt x="172" y="1738"/>
                </a:lnTo>
                <a:lnTo>
                  <a:pt x="180" y="1741"/>
                </a:lnTo>
                <a:lnTo>
                  <a:pt x="187" y="1747"/>
                </a:lnTo>
                <a:lnTo>
                  <a:pt x="192" y="1752"/>
                </a:lnTo>
                <a:lnTo>
                  <a:pt x="196" y="1760"/>
                </a:lnTo>
                <a:lnTo>
                  <a:pt x="198" y="1769"/>
                </a:lnTo>
                <a:lnTo>
                  <a:pt x="199" y="1779"/>
                </a:lnTo>
                <a:lnTo>
                  <a:pt x="199" y="1779"/>
                </a:lnTo>
                <a:lnTo>
                  <a:pt x="198" y="1789"/>
                </a:lnTo>
                <a:lnTo>
                  <a:pt x="196" y="1798"/>
                </a:lnTo>
                <a:lnTo>
                  <a:pt x="191" y="1805"/>
                </a:lnTo>
                <a:lnTo>
                  <a:pt x="187" y="1811"/>
                </a:lnTo>
                <a:lnTo>
                  <a:pt x="180" y="1817"/>
                </a:lnTo>
                <a:lnTo>
                  <a:pt x="172" y="1820"/>
                </a:lnTo>
                <a:lnTo>
                  <a:pt x="162" y="1822"/>
                </a:lnTo>
                <a:lnTo>
                  <a:pt x="152" y="1823"/>
                </a:lnTo>
                <a:lnTo>
                  <a:pt x="152" y="1823"/>
                </a:lnTo>
                <a:close/>
                <a:moveTo>
                  <a:pt x="151" y="1685"/>
                </a:moveTo>
                <a:lnTo>
                  <a:pt x="79" y="1685"/>
                </a:lnTo>
                <a:lnTo>
                  <a:pt x="79" y="1620"/>
                </a:lnTo>
                <a:lnTo>
                  <a:pt x="149" y="1620"/>
                </a:lnTo>
                <a:lnTo>
                  <a:pt x="149" y="1620"/>
                </a:lnTo>
                <a:lnTo>
                  <a:pt x="158" y="1621"/>
                </a:lnTo>
                <a:lnTo>
                  <a:pt x="167" y="1622"/>
                </a:lnTo>
                <a:lnTo>
                  <a:pt x="173" y="1624"/>
                </a:lnTo>
                <a:lnTo>
                  <a:pt x="179" y="1628"/>
                </a:lnTo>
                <a:lnTo>
                  <a:pt x="183" y="1633"/>
                </a:lnTo>
                <a:lnTo>
                  <a:pt x="187" y="1639"/>
                </a:lnTo>
                <a:lnTo>
                  <a:pt x="188" y="1645"/>
                </a:lnTo>
                <a:lnTo>
                  <a:pt x="189" y="1653"/>
                </a:lnTo>
                <a:lnTo>
                  <a:pt x="189" y="1653"/>
                </a:lnTo>
                <a:lnTo>
                  <a:pt x="189" y="1659"/>
                </a:lnTo>
                <a:lnTo>
                  <a:pt x="188" y="1664"/>
                </a:lnTo>
                <a:lnTo>
                  <a:pt x="186" y="1670"/>
                </a:lnTo>
                <a:lnTo>
                  <a:pt x="182" y="1674"/>
                </a:lnTo>
                <a:lnTo>
                  <a:pt x="177" y="1679"/>
                </a:lnTo>
                <a:lnTo>
                  <a:pt x="170" y="1682"/>
                </a:lnTo>
                <a:lnTo>
                  <a:pt x="162" y="1684"/>
                </a:lnTo>
                <a:lnTo>
                  <a:pt x="151" y="1685"/>
                </a:lnTo>
                <a:lnTo>
                  <a:pt x="151" y="1685"/>
                </a:lnTo>
                <a:close/>
                <a:moveTo>
                  <a:pt x="298" y="1778"/>
                </a:moveTo>
                <a:lnTo>
                  <a:pt x="298" y="1651"/>
                </a:lnTo>
                <a:lnTo>
                  <a:pt x="353" y="1651"/>
                </a:lnTo>
                <a:lnTo>
                  <a:pt x="353" y="1774"/>
                </a:lnTo>
                <a:lnTo>
                  <a:pt x="353" y="1774"/>
                </a:lnTo>
                <a:lnTo>
                  <a:pt x="353" y="1787"/>
                </a:lnTo>
                <a:lnTo>
                  <a:pt x="356" y="1799"/>
                </a:lnTo>
                <a:lnTo>
                  <a:pt x="359" y="1808"/>
                </a:lnTo>
                <a:lnTo>
                  <a:pt x="363" y="1815"/>
                </a:lnTo>
                <a:lnTo>
                  <a:pt x="369" y="1821"/>
                </a:lnTo>
                <a:lnTo>
                  <a:pt x="376" y="1825"/>
                </a:lnTo>
                <a:lnTo>
                  <a:pt x="385" y="1828"/>
                </a:lnTo>
                <a:lnTo>
                  <a:pt x="395" y="1829"/>
                </a:lnTo>
                <a:lnTo>
                  <a:pt x="395" y="1829"/>
                </a:lnTo>
                <a:lnTo>
                  <a:pt x="405" y="1828"/>
                </a:lnTo>
                <a:lnTo>
                  <a:pt x="412" y="1825"/>
                </a:lnTo>
                <a:lnTo>
                  <a:pt x="420" y="1821"/>
                </a:lnTo>
                <a:lnTo>
                  <a:pt x="426" y="1815"/>
                </a:lnTo>
                <a:lnTo>
                  <a:pt x="430" y="1808"/>
                </a:lnTo>
                <a:lnTo>
                  <a:pt x="433" y="1798"/>
                </a:lnTo>
                <a:lnTo>
                  <a:pt x="436" y="1787"/>
                </a:lnTo>
                <a:lnTo>
                  <a:pt x="436" y="1774"/>
                </a:lnTo>
                <a:lnTo>
                  <a:pt x="436" y="1651"/>
                </a:lnTo>
                <a:lnTo>
                  <a:pt x="491" y="1651"/>
                </a:lnTo>
                <a:lnTo>
                  <a:pt x="491" y="1874"/>
                </a:lnTo>
                <a:lnTo>
                  <a:pt x="436" y="1874"/>
                </a:lnTo>
                <a:lnTo>
                  <a:pt x="436" y="1857"/>
                </a:lnTo>
                <a:lnTo>
                  <a:pt x="436" y="1857"/>
                </a:lnTo>
                <a:lnTo>
                  <a:pt x="431" y="1862"/>
                </a:lnTo>
                <a:lnTo>
                  <a:pt x="425" y="1867"/>
                </a:lnTo>
                <a:lnTo>
                  <a:pt x="419" y="1871"/>
                </a:lnTo>
                <a:lnTo>
                  <a:pt x="412" y="1873"/>
                </a:lnTo>
                <a:lnTo>
                  <a:pt x="406" y="1877"/>
                </a:lnTo>
                <a:lnTo>
                  <a:pt x="398" y="1878"/>
                </a:lnTo>
                <a:lnTo>
                  <a:pt x="390" y="1879"/>
                </a:lnTo>
                <a:lnTo>
                  <a:pt x="382" y="1880"/>
                </a:lnTo>
                <a:lnTo>
                  <a:pt x="382" y="1880"/>
                </a:lnTo>
                <a:lnTo>
                  <a:pt x="369" y="1879"/>
                </a:lnTo>
                <a:lnTo>
                  <a:pt x="358" y="1877"/>
                </a:lnTo>
                <a:lnTo>
                  <a:pt x="348" y="1873"/>
                </a:lnTo>
                <a:lnTo>
                  <a:pt x="338" y="1869"/>
                </a:lnTo>
                <a:lnTo>
                  <a:pt x="330" y="1863"/>
                </a:lnTo>
                <a:lnTo>
                  <a:pt x="323" y="1858"/>
                </a:lnTo>
                <a:lnTo>
                  <a:pt x="318" y="1850"/>
                </a:lnTo>
                <a:lnTo>
                  <a:pt x="312" y="1842"/>
                </a:lnTo>
                <a:lnTo>
                  <a:pt x="309" y="1834"/>
                </a:lnTo>
                <a:lnTo>
                  <a:pt x="306" y="1827"/>
                </a:lnTo>
                <a:lnTo>
                  <a:pt x="301" y="1809"/>
                </a:lnTo>
                <a:lnTo>
                  <a:pt x="299" y="1792"/>
                </a:lnTo>
                <a:lnTo>
                  <a:pt x="298" y="1778"/>
                </a:lnTo>
                <a:lnTo>
                  <a:pt x="298" y="1778"/>
                </a:lnTo>
                <a:close/>
                <a:moveTo>
                  <a:pt x="1143" y="1874"/>
                </a:moveTo>
                <a:lnTo>
                  <a:pt x="1087" y="1874"/>
                </a:lnTo>
                <a:lnTo>
                  <a:pt x="1087" y="1651"/>
                </a:lnTo>
                <a:lnTo>
                  <a:pt x="1143" y="1651"/>
                </a:lnTo>
                <a:lnTo>
                  <a:pt x="1143" y="1670"/>
                </a:lnTo>
                <a:lnTo>
                  <a:pt x="1143" y="1670"/>
                </a:lnTo>
                <a:lnTo>
                  <a:pt x="1148" y="1664"/>
                </a:lnTo>
                <a:lnTo>
                  <a:pt x="1154" y="1659"/>
                </a:lnTo>
                <a:lnTo>
                  <a:pt x="1160" y="1655"/>
                </a:lnTo>
                <a:lnTo>
                  <a:pt x="1167" y="1652"/>
                </a:lnTo>
                <a:lnTo>
                  <a:pt x="1175" y="1649"/>
                </a:lnTo>
                <a:lnTo>
                  <a:pt x="1182" y="1648"/>
                </a:lnTo>
                <a:lnTo>
                  <a:pt x="1190" y="1646"/>
                </a:lnTo>
                <a:lnTo>
                  <a:pt x="1198" y="1645"/>
                </a:lnTo>
                <a:lnTo>
                  <a:pt x="1198" y="1645"/>
                </a:lnTo>
                <a:lnTo>
                  <a:pt x="1208" y="1646"/>
                </a:lnTo>
                <a:lnTo>
                  <a:pt x="1217" y="1648"/>
                </a:lnTo>
                <a:lnTo>
                  <a:pt x="1226" y="1650"/>
                </a:lnTo>
                <a:lnTo>
                  <a:pt x="1234" y="1652"/>
                </a:lnTo>
                <a:lnTo>
                  <a:pt x="1242" y="1655"/>
                </a:lnTo>
                <a:lnTo>
                  <a:pt x="1248" y="1661"/>
                </a:lnTo>
                <a:lnTo>
                  <a:pt x="1254" y="1665"/>
                </a:lnTo>
                <a:lnTo>
                  <a:pt x="1259" y="1672"/>
                </a:lnTo>
                <a:lnTo>
                  <a:pt x="1265" y="1679"/>
                </a:lnTo>
                <a:lnTo>
                  <a:pt x="1268" y="1686"/>
                </a:lnTo>
                <a:lnTo>
                  <a:pt x="1273" y="1694"/>
                </a:lnTo>
                <a:lnTo>
                  <a:pt x="1275" y="1703"/>
                </a:lnTo>
                <a:lnTo>
                  <a:pt x="1277" y="1713"/>
                </a:lnTo>
                <a:lnTo>
                  <a:pt x="1279" y="1724"/>
                </a:lnTo>
                <a:lnTo>
                  <a:pt x="1280" y="1735"/>
                </a:lnTo>
                <a:lnTo>
                  <a:pt x="1280" y="1748"/>
                </a:lnTo>
                <a:lnTo>
                  <a:pt x="1280" y="1874"/>
                </a:lnTo>
                <a:lnTo>
                  <a:pt x="1225" y="1874"/>
                </a:lnTo>
                <a:lnTo>
                  <a:pt x="1225" y="1751"/>
                </a:lnTo>
                <a:lnTo>
                  <a:pt x="1225" y="1751"/>
                </a:lnTo>
                <a:lnTo>
                  <a:pt x="1225" y="1738"/>
                </a:lnTo>
                <a:lnTo>
                  <a:pt x="1223" y="1727"/>
                </a:lnTo>
                <a:lnTo>
                  <a:pt x="1219" y="1718"/>
                </a:lnTo>
                <a:lnTo>
                  <a:pt x="1215" y="1710"/>
                </a:lnTo>
                <a:lnTo>
                  <a:pt x="1209" y="1704"/>
                </a:lnTo>
                <a:lnTo>
                  <a:pt x="1203" y="1700"/>
                </a:lnTo>
                <a:lnTo>
                  <a:pt x="1195" y="1698"/>
                </a:lnTo>
                <a:lnTo>
                  <a:pt x="1185" y="1696"/>
                </a:lnTo>
                <a:lnTo>
                  <a:pt x="1185" y="1696"/>
                </a:lnTo>
                <a:lnTo>
                  <a:pt x="1175" y="1698"/>
                </a:lnTo>
                <a:lnTo>
                  <a:pt x="1166" y="1700"/>
                </a:lnTo>
                <a:lnTo>
                  <a:pt x="1159" y="1704"/>
                </a:lnTo>
                <a:lnTo>
                  <a:pt x="1154" y="1710"/>
                </a:lnTo>
                <a:lnTo>
                  <a:pt x="1148" y="1718"/>
                </a:lnTo>
                <a:lnTo>
                  <a:pt x="1145" y="1728"/>
                </a:lnTo>
                <a:lnTo>
                  <a:pt x="1143" y="1739"/>
                </a:lnTo>
                <a:lnTo>
                  <a:pt x="1143" y="1751"/>
                </a:lnTo>
                <a:lnTo>
                  <a:pt x="1143" y="1874"/>
                </a:lnTo>
                <a:close/>
                <a:moveTo>
                  <a:pt x="597" y="1762"/>
                </a:moveTo>
                <a:lnTo>
                  <a:pt x="597" y="1874"/>
                </a:lnTo>
                <a:lnTo>
                  <a:pt x="541" y="1874"/>
                </a:lnTo>
                <a:lnTo>
                  <a:pt x="541" y="1651"/>
                </a:lnTo>
                <a:lnTo>
                  <a:pt x="597" y="1651"/>
                </a:lnTo>
                <a:lnTo>
                  <a:pt x="597" y="1762"/>
                </a:lnTo>
                <a:close/>
                <a:moveTo>
                  <a:pt x="646" y="1585"/>
                </a:moveTo>
                <a:lnTo>
                  <a:pt x="701" y="1558"/>
                </a:lnTo>
                <a:lnTo>
                  <a:pt x="701" y="1760"/>
                </a:lnTo>
                <a:lnTo>
                  <a:pt x="701" y="1874"/>
                </a:lnTo>
                <a:lnTo>
                  <a:pt x="646" y="1874"/>
                </a:lnTo>
                <a:lnTo>
                  <a:pt x="646" y="1585"/>
                </a:lnTo>
                <a:close/>
                <a:moveTo>
                  <a:pt x="877" y="1666"/>
                </a:moveTo>
                <a:lnTo>
                  <a:pt x="877" y="1666"/>
                </a:lnTo>
                <a:lnTo>
                  <a:pt x="873" y="1661"/>
                </a:lnTo>
                <a:lnTo>
                  <a:pt x="867" y="1658"/>
                </a:lnTo>
                <a:lnTo>
                  <a:pt x="860" y="1653"/>
                </a:lnTo>
                <a:lnTo>
                  <a:pt x="855" y="1651"/>
                </a:lnTo>
                <a:lnTo>
                  <a:pt x="848" y="1649"/>
                </a:lnTo>
                <a:lnTo>
                  <a:pt x="841" y="1646"/>
                </a:lnTo>
                <a:lnTo>
                  <a:pt x="828" y="1645"/>
                </a:lnTo>
                <a:lnTo>
                  <a:pt x="828" y="1645"/>
                </a:lnTo>
                <a:lnTo>
                  <a:pt x="818" y="1646"/>
                </a:lnTo>
                <a:lnTo>
                  <a:pt x="808" y="1648"/>
                </a:lnTo>
                <a:lnTo>
                  <a:pt x="799" y="1650"/>
                </a:lnTo>
                <a:lnTo>
                  <a:pt x="791" y="1653"/>
                </a:lnTo>
                <a:lnTo>
                  <a:pt x="784" y="1658"/>
                </a:lnTo>
                <a:lnTo>
                  <a:pt x="776" y="1663"/>
                </a:lnTo>
                <a:lnTo>
                  <a:pt x="769" y="1670"/>
                </a:lnTo>
                <a:lnTo>
                  <a:pt x="764" y="1676"/>
                </a:lnTo>
                <a:lnTo>
                  <a:pt x="758" y="1684"/>
                </a:lnTo>
                <a:lnTo>
                  <a:pt x="754" y="1693"/>
                </a:lnTo>
                <a:lnTo>
                  <a:pt x="749" y="1702"/>
                </a:lnTo>
                <a:lnTo>
                  <a:pt x="746" y="1712"/>
                </a:lnTo>
                <a:lnTo>
                  <a:pt x="744" y="1723"/>
                </a:lnTo>
                <a:lnTo>
                  <a:pt x="741" y="1735"/>
                </a:lnTo>
                <a:lnTo>
                  <a:pt x="740" y="1748"/>
                </a:lnTo>
                <a:lnTo>
                  <a:pt x="740" y="1760"/>
                </a:lnTo>
                <a:lnTo>
                  <a:pt x="740" y="1760"/>
                </a:lnTo>
                <a:lnTo>
                  <a:pt x="740" y="1774"/>
                </a:lnTo>
                <a:lnTo>
                  <a:pt x="741" y="1787"/>
                </a:lnTo>
                <a:lnTo>
                  <a:pt x="744" y="1799"/>
                </a:lnTo>
                <a:lnTo>
                  <a:pt x="746" y="1810"/>
                </a:lnTo>
                <a:lnTo>
                  <a:pt x="749" y="1821"/>
                </a:lnTo>
                <a:lnTo>
                  <a:pt x="752" y="1831"/>
                </a:lnTo>
                <a:lnTo>
                  <a:pt x="757" y="1840"/>
                </a:lnTo>
                <a:lnTo>
                  <a:pt x="762" y="1848"/>
                </a:lnTo>
                <a:lnTo>
                  <a:pt x="769" y="1856"/>
                </a:lnTo>
                <a:lnTo>
                  <a:pt x="775" y="1861"/>
                </a:lnTo>
                <a:lnTo>
                  <a:pt x="783" y="1867"/>
                </a:lnTo>
                <a:lnTo>
                  <a:pt x="790" y="1871"/>
                </a:lnTo>
                <a:lnTo>
                  <a:pt x="798" y="1874"/>
                </a:lnTo>
                <a:lnTo>
                  <a:pt x="807" y="1878"/>
                </a:lnTo>
                <a:lnTo>
                  <a:pt x="817" y="1879"/>
                </a:lnTo>
                <a:lnTo>
                  <a:pt x="827" y="1880"/>
                </a:lnTo>
                <a:lnTo>
                  <a:pt x="827" y="1880"/>
                </a:lnTo>
                <a:lnTo>
                  <a:pt x="834" y="1879"/>
                </a:lnTo>
                <a:lnTo>
                  <a:pt x="840" y="1878"/>
                </a:lnTo>
                <a:lnTo>
                  <a:pt x="847" y="1877"/>
                </a:lnTo>
                <a:lnTo>
                  <a:pt x="854" y="1874"/>
                </a:lnTo>
                <a:lnTo>
                  <a:pt x="859" y="1871"/>
                </a:lnTo>
                <a:lnTo>
                  <a:pt x="866" y="1868"/>
                </a:lnTo>
                <a:lnTo>
                  <a:pt x="871" y="1863"/>
                </a:lnTo>
                <a:lnTo>
                  <a:pt x="877" y="1858"/>
                </a:lnTo>
                <a:lnTo>
                  <a:pt x="877" y="1874"/>
                </a:lnTo>
                <a:lnTo>
                  <a:pt x="933" y="1874"/>
                </a:lnTo>
                <a:lnTo>
                  <a:pt x="933" y="1558"/>
                </a:lnTo>
                <a:lnTo>
                  <a:pt x="877" y="1585"/>
                </a:lnTo>
                <a:lnTo>
                  <a:pt x="877" y="1666"/>
                </a:lnTo>
                <a:close/>
                <a:moveTo>
                  <a:pt x="838" y="1829"/>
                </a:moveTo>
                <a:lnTo>
                  <a:pt x="838" y="1829"/>
                </a:lnTo>
                <a:lnTo>
                  <a:pt x="831" y="1828"/>
                </a:lnTo>
                <a:lnTo>
                  <a:pt x="824" y="1825"/>
                </a:lnTo>
                <a:lnTo>
                  <a:pt x="817" y="1822"/>
                </a:lnTo>
                <a:lnTo>
                  <a:pt x="810" y="1815"/>
                </a:lnTo>
                <a:lnTo>
                  <a:pt x="805" y="1807"/>
                </a:lnTo>
                <a:lnTo>
                  <a:pt x="800" y="1794"/>
                </a:lnTo>
                <a:lnTo>
                  <a:pt x="797" y="1779"/>
                </a:lnTo>
                <a:lnTo>
                  <a:pt x="796" y="1759"/>
                </a:lnTo>
                <a:lnTo>
                  <a:pt x="796" y="1759"/>
                </a:lnTo>
                <a:lnTo>
                  <a:pt x="797" y="1741"/>
                </a:lnTo>
                <a:lnTo>
                  <a:pt x="800" y="1728"/>
                </a:lnTo>
                <a:lnTo>
                  <a:pt x="805" y="1717"/>
                </a:lnTo>
                <a:lnTo>
                  <a:pt x="810" y="1709"/>
                </a:lnTo>
                <a:lnTo>
                  <a:pt x="816" y="1702"/>
                </a:lnTo>
                <a:lnTo>
                  <a:pt x="824" y="1699"/>
                </a:lnTo>
                <a:lnTo>
                  <a:pt x="830" y="1696"/>
                </a:lnTo>
                <a:lnTo>
                  <a:pt x="838" y="1696"/>
                </a:lnTo>
                <a:lnTo>
                  <a:pt x="838" y="1696"/>
                </a:lnTo>
                <a:lnTo>
                  <a:pt x="845" y="1696"/>
                </a:lnTo>
                <a:lnTo>
                  <a:pt x="851" y="1699"/>
                </a:lnTo>
                <a:lnTo>
                  <a:pt x="858" y="1701"/>
                </a:lnTo>
                <a:lnTo>
                  <a:pt x="863" y="1704"/>
                </a:lnTo>
                <a:lnTo>
                  <a:pt x="867" y="1708"/>
                </a:lnTo>
                <a:lnTo>
                  <a:pt x="871" y="1711"/>
                </a:lnTo>
                <a:lnTo>
                  <a:pt x="877" y="1719"/>
                </a:lnTo>
                <a:lnTo>
                  <a:pt x="877" y="1807"/>
                </a:lnTo>
                <a:lnTo>
                  <a:pt x="877" y="1807"/>
                </a:lnTo>
                <a:lnTo>
                  <a:pt x="870" y="1814"/>
                </a:lnTo>
                <a:lnTo>
                  <a:pt x="863" y="1821"/>
                </a:lnTo>
                <a:lnTo>
                  <a:pt x="858" y="1824"/>
                </a:lnTo>
                <a:lnTo>
                  <a:pt x="851" y="1827"/>
                </a:lnTo>
                <a:lnTo>
                  <a:pt x="846" y="1828"/>
                </a:lnTo>
                <a:lnTo>
                  <a:pt x="838" y="1829"/>
                </a:lnTo>
                <a:lnTo>
                  <a:pt x="838" y="1829"/>
                </a:lnTo>
                <a:close/>
                <a:moveTo>
                  <a:pt x="2084" y="1645"/>
                </a:moveTo>
                <a:lnTo>
                  <a:pt x="2084" y="1645"/>
                </a:lnTo>
                <a:lnTo>
                  <a:pt x="2079" y="1646"/>
                </a:lnTo>
                <a:lnTo>
                  <a:pt x="2072" y="1648"/>
                </a:lnTo>
                <a:lnTo>
                  <a:pt x="2059" y="1651"/>
                </a:lnTo>
                <a:lnTo>
                  <a:pt x="2046" y="1658"/>
                </a:lnTo>
                <a:lnTo>
                  <a:pt x="2035" y="1666"/>
                </a:lnTo>
                <a:lnTo>
                  <a:pt x="2035" y="1563"/>
                </a:lnTo>
                <a:lnTo>
                  <a:pt x="1980" y="1591"/>
                </a:lnTo>
                <a:lnTo>
                  <a:pt x="1980" y="1874"/>
                </a:lnTo>
                <a:lnTo>
                  <a:pt x="2035" y="1874"/>
                </a:lnTo>
                <a:lnTo>
                  <a:pt x="2035" y="1858"/>
                </a:lnTo>
                <a:lnTo>
                  <a:pt x="2035" y="1858"/>
                </a:lnTo>
                <a:lnTo>
                  <a:pt x="2040" y="1863"/>
                </a:lnTo>
                <a:lnTo>
                  <a:pt x="2046" y="1868"/>
                </a:lnTo>
                <a:lnTo>
                  <a:pt x="2052" y="1871"/>
                </a:lnTo>
                <a:lnTo>
                  <a:pt x="2059" y="1874"/>
                </a:lnTo>
                <a:lnTo>
                  <a:pt x="2064" y="1877"/>
                </a:lnTo>
                <a:lnTo>
                  <a:pt x="2072" y="1878"/>
                </a:lnTo>
                <a:lnTo>
                  <a:pt x="2079" y="1879"/>
                </a:lnTo>
                <a:lnTo>
                  <a:pt x="2085" y="1880"/>
                </a:lnTo>
                <a:lnTo>
                  <a:pt x="2085" y="1880"/>
                </a:lnTo>
                <a:lnTo>
                  <a:pt x="2095" y="1879"/>
                </a:lnTo>
                <a:lnTo>
                  <a:pt x="2105" y="1878"/>
                </a:lnTo>
                <a:lnTo>
                  <a:pt x="2114" y="1876"/>
                </a:lnTo>
                <a:lnTo>
                  <a:pt x="2123" y="1871"/>
                </a:lnTo>
                <a:lnTo>
                  <a:pt x="2131" y="1867"/>
                </a:lnTo>
                <a:lnTo>
                  <a:pt x="2137" y="1862"/>
                </a:lnTo>
                <a:lnTo>
                  <a:pt x="2144" y="1856"/>
                </a:lnTo>
                <a:lnTo>
                  <a:pt x="2150" y="1849"/>
                </a:lnTo>
                <a:lnTo>
                  <a:pt x="2155" y="1840"/>
                </a:lnTo>
                <a:lnTo>
                  <a:pt x="2160" y="1831"/>
                </a:lnTo>
                <a:lnTo>
                  <a:pt x="2163" y="1821"/>
                </a:lnTo>
                <a:lnTo>
                  <a:pt x="2166" y="1811"/>
                </a:lnTo>
                <a:lnTo>
                  <a:pt x="2170" y="1800"/>
                </a:lnTo>
                <a:lnTo>
                  <a:pt x="2171" y="1788"/>
                </a:lnTo>
                <a:lnTo>
                  <a:pt x="2172" y="1774"/>
                </a:lnTo>
                <a:lnTo>
                  <a:pt x="2173" y="1760"/>
                </a:lnTo>
                <a:lnTo>
                  <a:pt x="2173" y="1760"/>
                </a:lnTo>
                <a:lnTo>
                  <a:pt x="2172" y="1748"/>
                </a:lnTo>
                <a:lnTo>
                  <a:pt x="2171" y="1735"/>
                </a:lnTo>
                <a:lnTo>
                  <a:pt x="2169" y="1723"/>
                </a:lnTo>
                <a:lnTo>
                  <a:pt x="2166" y="1712"/>
                </a:lnTo>
                <a:lnTo>
                  <a:pt x="2163" y="1702"/>
                </a:lnTo>
                <a:lnTo>
                  <a:pt x="2159" y="1693"/>
                </a:lnTo>
                <a:lnTo>
                  <a:pt x="2154" y="1684"/>
                </a:lnTo>
                <a:lnTo>
                  <a:pt x="2149" y="1676"/>
                </a:lnTo>
                <a:lnTo>
                  <a:pt x="2143" y="1670"/>
                </a:lnTo>
                <a:lnTo>
                  <a:pt x="2136" y="1663"/>
                </a:lnTo>
                <a:lnTo>
                  <a:pt x="2129" y="1658"/>
                </a:lnTo>
                <a:lnTo>
                  <a:pt x="2121" y="1653"/>
                </a:lnTo>
                <a:lnTo>
                  <a:pt x="2113" y="1650"/>
                </a:lnTo>
                <a:lnTo>
                  <a:pt x="2104" y="1648"/>
                </a:lnTo>
                <a:lnTo>
                  <a:pt x="2094" y="1646"/>
                </a:lnTo>
                <a:lnTo>
                  <a:pt x="2084" y="1645"/>
                </a:lnTo>
                <a:lnTo>
                  <a:pt x="2084" y="1645"/>
                </a:lnTo>
                <a:close/>
                <a:moveTo>
                  <a:pt x="2074" y="1696"/>
                </a:moveTo>
                <a:lnTo>
                  <a:pt x="2074" y="1696"/>
                </a:lnTo>
                <a:lnTo>
                  <a:pt x="2082" y="1698"/>
                </a:lnTo>
                <a:lnTo>
                  <a:pt x="2090" y="1700"/>
                </a:lnTo>
                <a:lnTo>
                  <a:pt x="2096" y="1704"/>
                </a:lnTo>
                <a:lnTo>
                  <a:pt x="2103" y="1711"/>
                </a:lnTo>
                <a:lnTo>
                  <a:pt x="2109" y="1719"/>
                </a:lnTo>
                <a:lnTo>
                  <a:pt x="2112" y="1730"/>
                </a:lnTo>
                <a:lnTo>
                  <a:pt x="2115" y="1743"/>
                </a:lnTo>
                <a:lnTo>
                  <a:pt x="2116" y="1759"/>
                </a:lnTo>
                <a:lnTo>
                  <a:pt x="2116" y="1759"/>
                </a:lnTo>
                <a:lnTo>
                  <a:pt x="2115" y="1775"/>
                </a:lnTo>
                <a:lnTo>
                  <a:pt x="2113" y="1790"/>
                </a:lnTo>
                <a:lnTo>
                  <a:pt x="2111" y="1801"/>
                </a:lnTo>
                <a:lnTo>
                  <a:pt x="2106" y="1811"/>
                </a:lnTo>
                <a:lnTo>
                  <a:pt x="2100" y="1819"/>
                </a:lnTo>
                <a:lnTo>
                  <a:pt x="2093" y="1824"/>
                </a:lnTo>
                <a:lnTo>
                  <a:pt x="2085" y="1828"/>
                </a:lnTo>
                <a:lnTo>
                  <a:pt x="2075" y="1829"/>
                </a:lnTo>
                <a:lnTo>
                  <a:pt x="2075" y="1829"/>
                </a:lnTo>
                <a:lnTo>
                  <a:pt x="2067" y="1828"/>
                </a:lnTo>
                <a:lnTo>
                  <a:pt x="2061" y="1827"/>
                </a:lnTo>
                <a:lnTo>
                  <a:pt x="2055" y="1823"/>
                </a:lnTo>
                <a:lnTo>
                  <a:pt x="2050" y="1821"/>
                </a:lnTo>
                <a:lnTo>
                  <a:pt x="2041" y="1813"/>
                </a:lnTo>
                <a:lnTo>
                  <a:pt x="2035" y="1808"/>
                </a:lnTo>
                <a:lnTo>
                  <a:pt x="2035" y="1719"/>
                </a:lnTo>
                <a:lnTo>
                  <a:pt x="2035" y="1719"/>
                </a:lnTo>
                <a:lnTo>
                  <a:pt x="2039" y="1714"/>
                </a:lnTo>
                <a:lnTo>
                  <a:pt x="2043" y="1710"/>
                </a:lnTo>
                <a:lnTo>
                  <a:pt x="2047" y="1705"/>
                </a:lnTo>
                <a:lnTo>
                  <a:pt x="2052" y="1702"/>
                </a:lnTo>
                <a:lnTo>
                  <a:pt x="2057" y="1700"/>
                </a:lnTo>
                <a:lnTo>
                  <a:pt x="2063" y="1698"/>
                </a:lnTo>
                <a:lnTo>
                  <a:pt x="2069" y="1696"/>
                </a:lnTo>
                <a:lnTo>
                  <a:pt x="2074" y="1696"/>
                </a:lnTo>
                <a:lnTo>
                  <a:pt x="2074" y="1696"/>
                </a:lnTo>
                <a:close/>
                <a:moveTo>
                  <a:pt x="1455" y="1666"/>
                </a:moveTo>
                <a:lnTo>
                  <a:pt x="1455" y="1666"/>
                </a:lnTo>
                <a:lnTo>
                  <a:pt x="1451" y="1662"/>
                </a:lnTo>
                <a:lnTo>
                  <a:pt x="1445" y="1658"/>
                </a:lnTo>
                <a:lnTo>
                  <a:pt x="1438" y="1654"/>
                </a:lnTo>
                <a:lnTo>
                  <a:pt x="1433" y="1651"/>
                </a:lnTo>
                <a:lnTo>
                  <a:pt x="1426" y="1649"/>
                </a:lnTo>
                <a:lnTo>
                  <a:pt x="1419" y="1646"/>
                </a:lnTo>
                <a:lnTo>
                  <a:pt x="1413" y="1646"/>
                </a:lnTo>
                <a:lnTo>
                  <a:pt x="1406" y="1645"/>
                </a:lnTo>
                <a:lnTo>
                  <a:pt x="1406" y="1645"/>
                </a:lnTo>
                <a:lnTo>
                  <a:pt x="1396" y="1646"/>
                </a:lnTo>
                <a:lnTo>
                  <a:pt x="1386" y="1648"/>
                </a:lnTo>
                <a:lnTo>
                  <a:pt x="1377" y="1650"/>
                </a:lnTo>
                <a:lnTo>
                  <a:pt x="1369" y="1653"/>
                </a:lnTo>
                <a:lnTo>
                  <a:pt x="1362" y="1658"/>
                </a:lnTo>
                <a:lnTo>
                  <a:pt x="1354" y="1663"/>
                </a:lnTo>
                <a:lnTo>
                  <a:pt x="1347" y="1670"/>
                </a:lnTo>
                <a:lnTo>
                  <a:pt x="1342" y="1676"/>
                </a:lnTo>
                <a:lnTo>
                  <a:pt x="1336" y="1684"/>
                </a:lnTo>
                <a:lnTo>
                  <a:pt x="1332" y="1693"/>
                </a:lnTo>
                <a:lnTo>
                  <a:pt x="1327" y="1702"/>
                </a:lnTo>
                <a:lnTo>
                  <a:pt x="1324" y="1712"/>
                </a:lnTo>
                <a:lnTo>
                  <a:pt x="1322" y="1723"/>
                </a:lnTo>
                <a:lnTo>
                  <a:pt x="1319" y="1735"/>
                </a:lnTo>
                <a:lnTo>
                  <a:pt x="1318" y="1748"/>
                </a:lnTo>
                <a:lnTo>
                  <a:pt x="1318" y="1760"/>
                </a:lnTo>
                <a:lnTo>
                  <a:pt x="1318" y="1760"/>
                </a:lnTo>
                <a:lnTo>
                  <a:pt x="1318" y="1774"/>
                </a:lnTo>
                <a:lnTo>
                  <a:pt x="1319" y="1787"/>
                </a:lnTo>
                <a:lnTo>
                  <a:pt x="1322" y="1799"/>
                </a:lnTo>
                <a:lnTo>
                  <a:pt x="1324" y="1810"/>
                </a:lnTo>
                <a:lnTo>
                  <a:pt x="1327" y="1821"/>
                </a:lnTo>
                <a:lnTo>
                  <a:pt x="1330" y="1831"/>
                </a:lnTo>
                <a:lnTo>
                  <a:pt x="1336" y="1840"/>
                </a:lnTo>
                <a:lnTo>
                  <a:pt x="1340" y="1848"/>
                </a:lnTo>
                <a:lnTo>
                  <a:pt x="1347" y="1856"/>
                </a:lnTo>
                <a:lnTo>
                  <a:pt x="1353" y="1861"/>
                </a:lnTo>
                <a:lnTo>
                  <a:pt x="1360" y="1867"/>
                </a:lnTo>
                <a:lnTo>
                  <a:pt x="1368" y="1871"/>
                </a:lnTo>
                <a:lnTo>
                  <a:pt x="1376" y="1874"/>
                </a:lnTo>
                <a:lnTo>
                  <a:pt x="1385" y="1878"/>
                </a:lnTo>
                <a:lnTo>
                  <a:pt x="1395" y="1879"/>
                </a:lnTo>
                <a:lnTo>
                  <a:pt x="1405" y="1879"/>
                </a:lnTo>
                <a:lnTo>
                  <a:pt x="1405" y="1879"/>
                </a:lnTo>
                <a:lnTo>
                  <a:pt x="1412" y="1879"/>
                </a:lnTo>
                <a:lnTo>
                  <a:pt x="1418" y="1878"/>
                </a:lnTo>
                <a:lnTo>
                  <a:pt x="1425" y="1877"/>
                </a:lnTo>
                <a:lnTo>
                  <a:pt x="1432" y="1874"/>
                </a:lnTo>
                <a:lnTo>
                  <a:pt x="1438" y="1871"/>
                </a:lnTo>
                <a:lnTo>
                  <a:pt x="1444" y="1867"/>
                </a:lnTo>
                <a:lnTo>
                  <a:pt x="1449" y="1863"/>
                </a:lnTo>
                <a:lnTo>
                  <a:pt x="1455" y="1858"/>
                </a:lnTo>
                <a:lnTo>
                  <a:pt x="1455" y="1863"/>
                </a:lnTo>
                <a:lnTo>
                  <a:pt x="1455" y="1863"/>
                </a:lnTo>
                <a:lnTo>
                  <a:pt x="1455" y="1872"/>
                </a:lnTo>
                <a:lnTo>
                  <a:pt x="1454" y="1882"/>
                </a:lnTo>
                <a:lnTo>
                  <a:pt x="1452" y="1892"/>
                </a:lnTo>
                <a:lnTo>
                  <a:pt x="1449" y="1897"/>
                </a:lnTo>
                <a:lnTo>
                  <a:pt x="1446" y="1901"/>
                </a:lnTo>
                <a:lnTo>
                  <a:pt x="1443" y="1906"/>
                </a:lnTo>
                <a:lnTo>
                  <a:pt x="1438" y="1910"/>
                </a:lnTo>
                <a:lnTo>
                  <a:pt x="1432" y="1913"/>
                </a:lnTo>
                <a:lnTo>
                  <a:pt x="1425" y="1916"/>
                </a:lnTo>
                <a:lnTo>
                  <a:pt x="1417" y="1919"/>
                </a:lnTo>
                <a:lnTo>
                  <a:pt x="1407" y="1920"/>
                </a:lnTo>
                <a:lnTo>
                  <a:pt x="1396" y="1922"/>
                </a:lnTo>
                <a:lnTo>
                  <a:pt x="1384" y="1922"/>
                </a:lnTo>
                <a:lnTo>
                  <a:pt x="1382" y="1922"/>
                </a:lnTo>
                <a:lnTo>
                  <a:pt x="1401" y="1966"/>
                </a:lnTo>
                <a:lnTo>
                  <a:pt x="1402" y="1966"/>
                </a:lnTo>
                <a:lnTo>
                  <a:pt x="1402" y="1966"/>
                </a:lnTo>
                <a:lnTo>
                  <a:pt x="1415" y="1966"/>
                </a:lnTo>
                <a:lnTo>
                  <a:pt x="1427" y="1963"/>
                </a:lnTo>
                <a:lnTo>
                  <a:pt x="1439" y="1961"/>
                </a:lnTo>
                <a:lnTo>
                  <a:pt x="1449" y="1958"/>
                </a:lnTo>
                <a:lnTo>
                  <a:pt x="1459" y="1954"/>
                </a:lnTo>
                <a:lnTo>
                  <a:pt x="1468" y="1950"/>
                </a:lnTo>
                <a:lnTo>
                  <a:pt x="1476" y="1943"/>
                </a:lnTo>
                <a:lnTo>
                  <a:pt x="1484" y="1938"/>
                </a:lnTo>
                <a:lnTo>
                  <a:pt x="1491" y="1930"/>
                </a:lnTo>
                <a:lnTo>
                  <a:pt x="1495" y="1921"/>
                </a:lnTo>
                <a:lnTo>
                  <a:pt x="1501" y="1912"/>
                </a:lnTo>
                <a:lnTo>
                  <a:pt x="1504" y="1902"/>
                </a:lnTo>
                <a:lnTo>
                  <a:pt x="1507" y="1891"/>
                </a:lnTo>
                <a:lnTo>
                  <a:pt x="1509" y="1880"/>
                </a:lnTo>
                <a:lnTo>
                  <a:pt x="1511" y="1868"/>
                </a:lnTo>
                <a:lnTo>
                  <a:pt x="1511" y="1853"/>
                </a:lnTo>
                <a:lnTo>
                  <a:pt x="1511" y="1651"/>
                </a:lnTo>
                <a:lnTo>
                  <a:pt x="1455" y="1651"/>
                </a:lnTo>
                <a:lnTo>
                  <a:pt x="1455" y="1666"/>
                </a:lnTo>
                <a:close/>
                <a:moveTo>
                  <a:pt x="1455" y="1719"/>
                </a:moveTo>
                <a:lnTo>
                  <a:pt x="1455" y="1807"/>
                </a:lnTo>
                <a:lnTo>
                  <a:pt x="1455" y="1807"/>
                </a:lnTo>
                <a:lnTo>
                  <a:pt x="1448" y="1814"/>
                </a:lnTo>
                <a:lnTo>
                  <a:pt x="1439" y="1822"/>
                </a:lnTo>
                <a:lnTo>
                  <a:pt x="1435" y="1824"/>
                </a:lnTo>
                <a:lnTo>
                  <a:pt x="1429" y="1827"/>
                </a:lnTo>
                <a:lnTo>
                  <a:pt x="1423" y="1828"/>
                </a:lnTo>
                <a:lnTo>
                  <a:pt x="1416" y="1829"/>
                </a:lnTo>
                <a:lnTo>
                  <a:pt x="1416" y="1829"/>
                </a:lnTo>
                <a:lnTo>
                  <a:pt x="1408" y="1828"/>
                </a:lnTo>
                <a:lnTo>
                  <a:pt x="1402" y="1825"/>
                </a:lnTo>
                <a:lnTo>
                  <a:pt x="1394" y="1821"/>
                </a:lnTo>
                <a:lnTo>
                  <a:pt x="1388" y="1815"/>
                </a:lnTo>
                <a:lnTo>
                  <a:pt x="1383" y="1807"/>
                </a:lnTo>
                <a:lnTo>
                  <a:pt x="1378" y="1794"/>
                </a:lnTo>
                <a:lnTo>
                  <a:pt x="1375" y="1779"/>
                </a:lnTo>
                <a:lnTo>
                  <a:pt x="1374" y="1759"/>
                </a:lnTo>
                <a:lnTo>
                  <a:pt x="1374" y="1759"/>
                </a:lnTo>
                <a:lnTo>
                  <a:pt x="1375" y="1741"/>
                </a:lnTo>
                <a:lnTo>
                  <a:pt x="1378" y="1728"/>
                </a:lnTo>
                <a:lnTo>
                  <a:pt x="1383" y="1717"/>
                </a:lnTo>
                <a:lnTo>
                  <a:pt x="1388" y="1709"/>
                </a:lnTo>
                <a:lnTo>
                  <a:pt x="1394" y="1702"/>
                </a:lnTo>
                <a:lnTo>
                  <a:pt x="1402" y="1699"/>
                </a:lnTo>
                <a:lnTo>
                  <a:pt x="1408" y="1696"/>
                </a:lnTo>
                <a:lnTo>
                  <a:pt x="1416" y="1696"/>
                </a:lnTo>
                <a:lnTo>
                  <a:pt x="1416" y="1696"/>
                </a:lnTo>
                <a:lnTo>
                  <a:pt x="1423" y="1696"/>
                </a:lnTo>
                <a:lnTo>
                  <a:pt x="1429" y="1699"/>
                </a:lnTo>
                <a:lnTo>
                  <a:pt x="1436" y="1701"/>
                </a:lnTo>
                <a:lnTo>
                  <a:pt x="1441" y="1703"/>
                </a:lnTo>
                <a:lnTo>
                  <a:pt x="1445" y="1708"/>
                </a:lnTo>
                <a:lnTo>
                  <a:pt x="1449" y="1711"/>
                </a:lnTo>
                <a:lnTo>
                  <a:pt x="1455" y="1719"/>
                </a:lnTo>
                <a:lnTo>
                  <a:pt x="1455" y="1719"/>
                </a:lnTo>
                <a:close/>
                <a:moveTo>
                  <a:pt x="1683" y="1705"/>
                </a:moveTo>
                <a:lnTo>
                  <a:pt x="1683" y="1705"/>
                </a:lnTo>
                <a:lnTo>
                  <a:pt x="1696" y="1699"/>
                </a:lnTo>
                <a:lnTo>
                  <a:pt x="1709" y="1694"/>
                </a:lnTo>
                <a:lnTo>
                  <a:pt x="1724" y="1691"/>
                </a:lnTo>
                <a:lnTo>
                  <a:pt x="1740" y="1690"/>
                </a:lnTo>
                <a:lnTo>
                  <a:pt x="1740" y="1690"/>
                </a:lnTo>
                <a:lnTo>
                  <a:pt x="1750" y="1691"/>
                </a:lnTo>
                <a:lnTo>
                  <a:pt x="1757" y="1692"/>
                </a:lnTo>
                <a:lnTo>
                  <a:pt x="1764" y="1694"/>
                </a:lnTo>
                <a:lnTo>
                  <a:pt x="1770" y="1699"/>
                </a:lnTo>
                <a:lnTo>
                  <a:pt x="1774" y="1703"/>
                </a:lnTo>
                <a:lnTo>
                  <a:pt x="1777" y="1709"/>
                </a:lnTo>
                <a:lnTo>
                  <a:pt x="1780" y="1714"/>
                </a:lnTo>
                <a:lnTo>
                  <a:pt x="1780" y="1722"/>
                </a:lnTo>
                <a:lnTo>
                  <a:pt x="1780" y="1738"/>
                </a:lnTo>
                <a:lnTo>
                  <a:pt x="1780" y="1738"/>
                </a:lnTo>
                <a:lnTo>
                  <a:pt x="1770" y="1733"/>
                </a:lnTo>
                <a:lnTo>
                  <a:pt x="1757" y="1730"/>
                </a:lnTo>
                <a:lnTo>
                  <a:pt x="1745" y="1728"/>
                </a:lnTo>
                <a:lnTo>
                  <a:pt x="1732" y="1727"/>
                </a:lnTo>
                <a:lnTo>
                  <a:pt x="1732" y="1727"/>
                </a:lnTo>
                <a:lnTo>
                  <a:pt x="1716" y="1728"/>
                </a:lnTo>
                <a:lnTo>
                  <a:pt x="1701" y="1731"/>
                </a:lnTo>
                <a:lnTo>
                  <a:pt x="1686" y="1735"/>
                </a:lnTo>
                <a:lnTo>
                  <a:pt x="1678" y="1739"/>
                </a:lnTo>
                <a:lnTo>
                  <a:pt x="1672" y="1743"/>
                </a:lnTo>
                <a:lnTo>
                  <a:pt x="1666" y="1748"/>
                </a:lnTo>
                <a:lnTo>
                  <a:pt x="1661" y="1753"/>
                </a:lnTo>
                <a:lnTo>
                  <a:pt x="1655" y="1759"/>
                </a:lnTo>
                <a:lnTo>
                  <a:pt x="1651" y="1765"/>
                </a:lnTo>
                <a:lnTo>
                  <a:pt x="1647" y="1773"/>
                </a:lnTo>
                <a:lnTo>
                  <a:pt x="1645" y="1782"/>
                </a:lnTo>
                <a:lnTo>
                  <a:pt x="1644" y="1791"/>
                </a:lnTo>
                <a:lnTo>
                  <a:pt x="1643" y="1800"/>
                </a:lnTo>
                <a:lnTo>
                  <a:pt x="1643" y="1800"/>
                </a:lnTo>
                <a:lnTo>
                  <a:pt x="1644" y="1811"/>
                </a:lnTo>
                <a:lnTo>
                  <a:pt x="1645" y="1821"/>
                </a:lnTo>
                <a:lnTo>
                  <a:pt x="1647" y="1829"/>
                </a:lnTo>
                <a:lnTo>
                  <a:pt x="1651" y="1838"/>
                </a:lnTo>
                <a:lnTo>
                  <a:pt x="1654" y="1844"/>
                </a:lnTo>
                <a:lnTo>
                  <a:pt x="1659" y="1851"/>
                </a:lnTo>
                <a:lnTo>
                  <a:pt x="1664" y="1857"/>
                </a:lnTo>
                <a:lnTo>
                  <a:pt x="1671" y="1862"/>
                </a:lnTo>
                <a:lnTo>
                  <a:pt x="1676" y="1867"/>
                </a:lnTo>
                <a:lnTo>
                  <a:pt x="1683" y="1870"/>
                </a:lnTo>
                <a:lnTo>
                  <a:pt x="1697" y="1876"/>
                </a:lnTo>
                <a:lnTo>
                  <a:pt x="1712" y="1879"/>
                </a:lnTo>
                <a:lnTo>
                  <a:pt x="1726" y="1880"/>
                </a:lnTo>
                <a:lnTo>
                  <a:pt x="1726" y="1880"/>
                </a:lnTo>
                <a:lnTo>
                  <a:pt x="1738" y="1878"/>
                </a:lnTo>
                <a:lnTo>
                  <a:pt x="1746" y="1877"/>
                </a:lnTo>
                <a:lnTo>
                  <a:pt x="1753" y="1874"/>
                </a:lnTo>
                <a:lnTo>
                  <a:pt x="1761" y="1871"/>
                </a:lnTo>
                <a:lnTo>
                  <a:pt x="1767" y="1867"/>
                </a:lnTo>
                <a:lnTo>
                  <a:pt x="1774" y="1862"/>
                </a:lnTo>
                <a:lnTo>
                  <a:pt x="1780" y="1857"/>
                </a:lnTo>
                <a:lnTo>
                  <a:pt x="1780" y="1874"/>
                </a:lnTo>
                <a:lnTo>
                  <a:pt x="1835" y="1874"/>
                </a:lnTo>
                <a:lnTo>
                  <a:pt x="1835" y="1723"/>
                </a:lnTo>
                <a:lnTo>
                  <a:pt x="1835" y="1723"/>
                </a:lnTo>
                <a:lnTo>
                  <a:pt x="1835" y="1714"/>
                </a:lnTo>
                <a:lnTo>
                  <a:pt x="1834" y="1707"/>
                </a:lnTo>
                <a:lnTo>
                  <a:pt x="1832" y="1699"/>
                </a:lnTo>
                <a:lnTo>
                  <a:pt x="1830" y="1691"/>
                </a:lnTo>
                <a:lnTo>
                  <a:pt x="1825" y="1684"/>
                </a:lnTo>
                <a:lnTo>
                  <a:pt x="1822" y="1678"/>
                </a:lnTo>
                <a:lnTo>
                  <a:pt x="1816" y="1672"/>
                </a:lnTo>
                <a:lnTo>
                  <a:pt x="1811" y="1666"/>
                </a:lnTo>
                <a:lnTo>
                  <a:pt x="1805" y="1662"/>
                </a:lnTo>
                <a:lnTo>
                  <a:pt x="1798" y="1658"/>
                </a:lnTo>
                <a:lnTo>
                  <a:pt x="1791" y="1654"/>
                </a:lnTo>
                <a:lnTo>
                  <a:pt x="1783" y="1651"/>
                </a:lnTo>
                <a:lnTo>
                  <a:pt x="1774" y="1649"/>
                </a:lnTo>
                <a:lnTo>
                  <a:pt x="1765" y="1648"/>
                </a:lnTo>
                <a:lnTo>
                  <a:pt x="1755" y="1646"/>
                </a:lnTo>
                <a:lnTo>
                  <a:pt x="1745" y="1645"/>
                </a:lnTo>
                <a:lnTo>
                  <a:pt x="1745" y="1645"/>
                </a:lnTo>
                <a:lnTo>
                  <a:pt x="1733" y="1646"/>
                </a:lnTo>
                <a:lnTo>
                  <a:pt x="1723" y="1646"/>
                </a:lnTo>
                <a:lnTo>
                  <a:pt x="1712" y="1649"/>
                </a:lnTo>
                <a:lnTo>
                  <a:pt x="1701" y="1651"/>
                </a:lnTo>
                <a:lnTo>
                  <a:pt x="1691" y="1654"/>
                </a:lnTo>
                <a:lnTo>
                  <a:pt x="1681" y="1658"/>
                </a:lnTo>
                <a:lnTo>
                  <a:pt x="1671" y="1662"/>
                </a:lnTo>
                <a:lnTo>
                  <a:pt x="1661" y="1668"/>
                </a:lnTo>
                <a:lnTo>
                  <a:pt x="1683" y="1705"/>
                </a:lnTo>
                <a:close/>
                <a:moveTo>
                  <a:pt x="1698" y="1800"/>
                </a:moveTo>
                <a:lnTo>
                  <a:pt x="1698" y="1800"/>
                </a:lnTo>
                <a:lnTo>
                  <a:pt x="1698" y="1793"/>
                </a:lnTo>
                <a:lnTo>
                  <a:pt x="1701" y="1787"/>
                </a:lnTo>
                <a:lnTo>
                  <a:pt x="1704" y="1781"/>
                </a:lnTo>
                <a:lnTo>
                  <a:pt x="1708" y="1777"/>
                </a:lnTo>
                <a:lnTo>
                  <a:pt x="1714" y="1773"/>
                </a:lnTo>
                <a:lnTo>
                  <a:pt x="1721" y="1771"/>
                </a:lnTo>
                <a:lnTo>
                  <a:pt x="1728" y="1769"/>
                </a:lnTo>
                <a:lnTo>
                  <a:pt x="1736" y="1769"/>
                </a:lnTo>
                <a:lnTo>
                  <a:pt x="1736" y="1769"/>
                </a:lnTo>
                <a:lnTo>
                  <a:pt x="1748" y="1769"/>
                </a:lnTo>
                <a:lnTo>
                  <a:pt x="1760" y="1771"/>
                </a:lnTo>
                <a:lnTo>
                  <a:pt x="1770" y="1774"/>
                </a:lnTo>
                <a:lnTo>
                  <a:pt x="1780" y="1780"/>
                </a:lnTo>
                <a:lnTo>
                  <a:pt x="1780" y="1810"/>
                </a:lnTo>
                <a:lnTo>
                  <a:pt x="1780" y="1810"/>
                </a:lnTo>
                <a:lnTo>
                  <a:pt x="1777" y="1814"/>
                </a:lnTo>
                <a:lnTo>
                  <a:pt x="1773" y="1819"/>
                </a:lnTo>
                <a:lnTo>
                  <a:pt x="1768" y="1823"/>
                </a:lnTo>
                <a:lnTo>
                  <a:pt x="1763" y="1827"/>
                </a:lnTo>
                <a:lnTo>
                  <a:pt x="1757" y="1830"/>
                </a:lnTo>
                <a:lnTo>
                  <a:pt x="1751" y="1832"/>
                </a:lnTo>
                <a:lnTo>
                  <a:pt x="1744" y="1833"/>
                </a:lnTo>
                <a:lnTo>
                  <a:pt x="1736" y="1834"/>
                </a:lnTo>
                <a:lnTo>
                  <a:pt x="1736" y="1834"/>
                </a:lnTo>
                <a:lnTo>
                  <a:pt x="1728" y="1833"/>
                </a:lnTo>
                <a:lnTo>
                  <a:pt x="1721" y="1831"/>
                </a:lnTo>
                <a:lnTo>
                  <a:pt x="1714" y="1829"/>
                </a:lnTo>
                <a:lnTo>
                  <a:pt x="1708" y="1824"/>
                </a:lnTo>
                <a:lnTo>
                  <a:pt x="1704" y="1820"/>
                </a:lnTo>
                <a:lnTo>
                  <a:pt x="1701" y="1814"/>
                </a:lnTo>
                <a:lnTo>
                  <a:pt x="1699" y="1808"/>
                </a:lnTo>
                <a:lnTo>
                  <a:pt x="1698" y="1800"/>
                </a:lnTo>
                <a:lnTo>
                  <a:pt x="1698" y="1800"/>
                </a:lnTo>
                <a:close/>
                <a:moveTo>
                  <a:pt x="2350" y="1810"/>
                </a:moveTo>
                <a:lnTo>
                  <a:pt x="2350" y="1810"/>
                </a:lnTo>
                <a:lnTo>
                  <a:pt x="2342" y="1817"/>
                </a:lnTo>
                <a:lnTo>
                  <a:pt x="2332" y="1822"/>
                </a:lnTo>
                <a:lnTo>
                  <a:pt x="2326" y="1824"/>
                </a:lnTo>
                <a:lnTo>
                  <a:pt x="2320" y="1827"/>
                </a:lnTo>
                <a:lnTo>
                  <a:pt x="2313" y="1828"/>
                </a:lnTo>
                <a:lnTo>
                  <a:pt x="2306" y="1829"/>
                </a:lnTo>
                <a:lnTo>
                  <a:pt x="2306" y="1829"/>
                </a:lnTo>
                <a:lnTo>
                  <a:pt x="2301" y="1828"/>
                </a:lnTo>
                <a:lnTo>
                  <a:pt x="2294" y="1828"/>
                </a:lnTo>
                <a:lnTo>
                  <a:pt x="2286" y="1825"/>
                </a:lnTo>
                <a:lnTo>
                  <a:pt x="2277" y="1821"/>
                </a:lnTo>
                <a:lnTo>
                  <a:pt x="2270" y="1815"/>
                </a:lnTo>
                <a:lnTo>
                  <a:pt x="2266" y="1811"/>
                </a:lnTo>
                <a:lnTo>
                  <a:pt x="2263" y="1807"/>
                </a:lnTo>
                <a:lnTo>
                  <a:pt x="2261" y="1801"/>
                </a:lnTo>
                <a:lnTo>
                  <a:pt x="2259" y="1794"/>
                </a:lnTo>
                <a:lnTo>
                  <a:pt x="2257" y="1788"/>
                </a:lnTo>
                <a:lnTo>
                  <a:pt x="2256" y="1780"/>
                </a:lnTo>
                <a:lnTo>
                  <a:pt x="2393" y="1780"/>
                </a:lnTo>
                <a:lnTo>
                  <a:pt x="2393" y="1780"/>
                </a:lnTo>
                <a:lnTo>
                  <a:pt x="2394" y="1763"/>
                </a:lnTo>
                <a:lnTo>
                  <a:pt x="2394" y="1763"/>
                </a:lnTo>
                <a:lnTo>
                  <a:pt x="2394" y="1750"/>
                </a:lnTo>
                <a:lnTo>
                  <a:pt x="2392" y="1738"/>
                </a:lnTo>
                <a:lnTo>
                  <a:pt x="2391" y="1725"/>
                </a:lnTo>
                <a:lnTo>
                  <a:pt x="2388" y="1714"/>
                </a:lnTo>
                <a:lnTo>
                  <a:pt x="2384" y="1704"/>
                </a:lnTo>
                <a:lnTo>
                  <a:pt x="2380" y="1694"/>
                </a:lnTo>
                <a:lnTo>
                  <a:pt x="2374" y="1685"/>
                </a:lnTo>
                <a:lnTo>
                  <a:pt x="2369" y="1678"/>
                </a:lnTo>
                <a:lnTo>
                  <a:pt x="2362" y="1670"/>
                </a:lnTo>
                <a:lnTo>
                  <a:pt x="2355" y="1664"/>
                </a:lnTo>
                <a:lnTo>
                  <a:pt x="2348" y="1659"/>
                </a:lnTo>
                <a:lnTo>
                  <a:pt x="2339" y="1654"/>
                </a:lnTo>
                <a:lnTo>
                  <a:pt x="2330" y="1651"/>
                </a:lnTo>
                <a:lnTo>
                  <a:pt x="2321" y="1648"/>
                </a:lnTo>
                <a:lnTo>
                  <a:pt x="2311" y="1646"/>
                </a:lnTo>
                <a:lnTo>
                  <a:pt x="2300" y="1645"/>
                </a:lnTo>
                <a:lnTo>
                  <a:pt x="2300" y="1645"/>
                </a:lnTo>
                <a:lnTo>
                  <a:pt x="2290" y="1646"/>
                </a:lnTo>
                <a:lnTo>
                  <a:pt x="2280" y="1648"/>
                </a:lnTo>
                <a:lnTo>
                  <a:pt x="2270" y="1651"/>
                </a:lnTo>
                <a:lnTo>
                  <a:pt x="2260" y="1654"/>
                </a:lnTo>
                <a:lnTo>
                  <a:pt x="2251" y="1659"/>
                </a:lnTo>
                <a:lnTo>
                  <a:pt x="2243" y="1665"/>
                </a:lnTo>
                <a:lnTo>
                  <a:pt x="2235" y="1671"/>
                </a:lnTo>
                <a:lnTo>
                  <a:pt x="2229" y="1679"/>
                </a:lnTo>
                <a:lnTo>
                  <a:pt x="2222" y="1686"/>
                </a:lnTo>
                <a:lnTo>
                  <a:pt x="2216" y="1695"/>
                </a:lnTo>
                <a:lnTo>
                  <a:pt x="2212" y="1705"/>
                </a:lnTo>
                <a:lnTo>
                  <a:pt x="2207" y="1715"/>
                </a:lnTo>
                <a:lnTo>
                  <a:pt x="2204" y="1727"/>
                </a:lnTo>
                <a:lnTo>
                  <a:pt x="2202" y="1739"/>
                </a:lnTo>
                <a:lnTo>
                  <a:pt x="2201" y="1750"/>
                </a:lnTo>
                <a:lnTo>
                  <a:pt x="2200" y="1763"/>
                </a:lnTo>
                <a:lnTo>
                  <a:pt x="2200" y="1763"/>
                </a:lnTo>
                <a:lnTo>
                  <a:pt x="2201" y="1775"/>
                </a:lnTo>
                <a:lnTo>
                  <a:pt x="2202" y="1788"/>
                </a:lnTo>
                <a:lnTo>
                  <a:pt x="2204" y="1800"/>
                </a:lnTo>
                <a:lnTo>
                  <a:pt x="2207" y="1811"/>
                </a:lnTo>
                <a:lnTo>
                  <a:pt x="2212" y="1821"/>
                </a:lnTo>
                <a:lnTo>
                  <a:pt x="2216" y="1831"/>
                </a:lnTo>
                <a:lnTo>
                  <a:pt x="2222" y="1840"/>
                </a:lnTo>
                <a:lnTo>
                  <a:pt x="2229" y="1848"/>
                </a:lnTo>
                <a:lnTo>
                  <a:pt x="2236" y="1854"/>
                </a:lnTo>
                <a:lnTo>
                  <a:pt x="2244" y="1861"/>
                </a:lnTo>
                <a:lnTo>
                  <a:pt x="2253" y="1867"/>
                </a:lnTo>
                <a:lnTo>
                  <a:pt x="2262" y="1871"/>
                </a:lnTo>
                <a:lnTo>
                  <a:pt x="2272" y="1874"/>
                </a:lnTo>
                <a:lnTo>
                  <a:pt x="2283" y="1878"/>
                </a:lnTo>
                <a:lnTo>
                  <a:pt x="2294" y="1879"/>
                </a:lnTo>
                <a:lnTo>
                  <a:pt x="2306" y="1880"/>
                </a:lnTo>
                <a:lnTo>
                  <a:pt x="2306" y="1880"/>
                </a:lnTo>
                <a:lnTo>
                  <a:pt x="2317" y="1879"/>
                </a:lnTo>
                <a:lnTo>
                  <a:pt x="2327" y="1878"/>
                </a:lnTo>
                <a:lnTo>
                  <a:pt x="2339" y="1874"/>
                </a:lnTo>
                <a:lnTo>
                  <a:pt x="2349" y="1871"/>
                </a:lnTo>
                <a:lnTo>
                  <a:pt x="2359" y="1866"/>
                </a:lnTo>
                <a:lnTo>
                  <a:pt x="2368" y="1860"/>
                </a:lnTo>
                <a:lnTo>
                  <a:pt x="2376" y="1852"/>
                </a:lnTo>
                <a:lnTo>
                  <a:pt x="2385" y="1844"/>
                </a:lnTo>
                <a:lnTo>
                  <a:pt x="2350" y="1810"/>
                </a:lnTo>
                <a:close/>
                <a:moveTo>
                  <a:pt x="2257" y="1739"/>
                </a:moveTo>
                <a:lnTo>
                  <a:pt x="2257" y="1739"/>
                </a:lnTo>
                <a:lnTo>
                  <a:pt x="2259" y="1729"/>
                </a:lnTo>
                <a:lnTo>
                  <a:pt x="2261" y="1720"/>
                </a:lnTo>
                <a:lnTo>
                  <a:pt x="2264" y="1712"/>
                </a:lnTo>
                <a:lnTo>
                  <a:pt x="2270" y="1705"/>
                </a:lnTo>
                <a:lnTo>
                  <a:pt x="2275" y="1700"/>
                </a:lnTo>
                <a:lnTo>
                  <a:pt x="2282" y="1696"/>
                </a:lnTo>
                <a:lnTo>
                  <a:pt x="2290" y="1693"/>
                </a:lnTo>
                <a:lnTo>
                  <a:pt x="2299" y="1693"/>
                </a:lnTo>
                <a:lnTo>
                  <a:pt x="2299" y="1693"/>
                </a:lnTo>
                <a:lnTo>
                  <a:pt x="2309" y="1694"/>
                </a:lnTo>
                <a:lnTo>
                  <a:pt x="2317" y="1696"/>
                </a:lnTo>
                <a:lnTo>
                  <a:pt x="2324" y="1701"/>
                </a:lnTo>
                <a:lnTo>
                  <a:pt x="2330" y="1708"/>
                </a:lnTo>
                <a:lnTo>
                  <a:pt x="2334" y="1714"/>
                </a:lnTo>
                <a:lnTo>
                  <a:pt x="2338" y="1722"/>
                </a:lnTo>
                <a:lnTo>
                  <a:pt x="2340" y="1731"/>
                </a:lnTo>
                <a:lnTo>
                  <a:pt x="2341" y="1739"/>
                </a:lnTo>
                <a:lnTo>
                  <a:pt x="2257" y="1739"/>
                </a:lnTo>
                <a:close/>
                <a:moveTo>
                  <a:pt x="2884" y="1810"/>
                </a:moveTo>
                <a:lnTo>
                  <a:pt x="2884" y="1810"/>
                </a:lnTo>
                <a:lnTo>
                  <a:pt x="2875" y="1817"/>
                </a:lnTo>
                <a:lnTo>
                  <a:pt x="2867" y="1822"/>
                </a:lnTo>
                <a:lnTo>
                  <a:pt x="2860" y="1824"/>
                </a:lnTo>
                <a:lnTo>
                  <a:pt x="2854" y="1827"/>
                </a:lnTo>
                <a:lnTo>
                  <a:pt x="2848" y="1828"/>
                </a:lnTo>
                <a:lnTo>
                  <a:pt x="2840" y="1829"/>
                </a:lnTo>
                <a:lnTo>
                  <a:pt x="2840" y="1829"/>
                </a:lnTo>
                <a:lnTo>
                  <a:pt x="2834" y="1828"/>
                </a:lnTo>
                <a:lnTo>
                  <a:pt x="2828" y="1828"/>
                </a:lnTo>
                <a:lnTo>
                  <a:pt x="2820" y="1825"/>
                </a:lnTo>
                <a:lnTo>
                  <a:pt x="2812" y="1821"/>
                </a:lnTo>
                <a:lnTo>
                  <a:pt x="2804" y="1815"/>
                </a:lnTo>
                <a:lnTo>
                  <a:pt x="2801" y="1811"/>
                </a:lnTo>
                <a:lnTo>
                  <a:pt x="2798" y="1807"/>
                </a:lnTo>
                <a:lnTo>
                  <a:pt x="2795" y="1801"/>
                </a:lnTo>
                <a:lnTo>
                  <a:pt x="2793" y="1794"/>
                </a:lnTo>
                <a:lnTo>
                  <a:pt x="2791" y="1788"/>
                </a:lnTo>
                <a:lnTo>
                  <a:pt x="2790" y="1780"/>
                </a:lnTo>
                <a:lnTo>
                  <a:pt x="2928" y="1780"/>
                </a:lnTo>
                <a:lnTo>
                  <a:pt x="2928" y="1780"/>
                </a:lnTo>
                <a:lnTo>
                  <a:pt x="2929" y="1763"/>
                </a:lnTo>
                <a:lnTo>
                  <a:pt x="2929" y="1763"/>
                </a:lnTo>
                <a:lnTo>
                  <a:pt x="2928" y="1750"/>
                </a:lnTo>
                <a:lnTo>
                  <a:pt x="2927" y="1738"/>
                </a:lnTo>
                <a:lnTo>
                  <a:pt x="2924" y="1725"/>
                </a:lnTo>
                <a:lnTo>
                  <a:pt x="2922" y="1714"/>
                </a:lnTo>
                <a:lnTo>
                  <a:pt x="2918" y="1704"/>
                </a:lnTo>
                <a:lnTo>
                  <a:pt x="2913" y="1694"/>
                </a:lnTo>
                <a:lnTo>
                  <a:pt x="2909" y="1685"/>
                </a:lnTo>
                <a:lnTo>
                  <a:pt x="2903" y="1678"/>
                </a:lnTo>
                <a:lnTo>
                  <a:pt x="2897" y="1670"/>
                </a:lnTo>
                <a:lnTo>
                  <a:pt x="2889" y="1664"/>
                </a:lnTo>
                <a:lnTo>
                  <a:pt x="2881" y="1659"/>
                </a:lnTo>
                <a:lnTo>
                  <a:pt x="2873" y="1654"/>
                </a:lnTo>
                <a:lnTo>
                  <a:pt x="2864" y="1651"/>
                </a:lnTo>
                <a:lnTo>
                  <a:pt x="2854" y="1648"/>
                </a:lnTo>
                <a:lnTo>
                  <a:pt x="2844" y="1646"/>
                </a:lnTo>
                <a:lnTo>
                  <a:pt x="2834" y="1645"/>
                </a:lnTo>
                <a:lnTo>
                  <a:pt x="2834" y="1645"/>
                </a:lnTo>
                <a:lnTo>
                  <a:pt x="2823" y="1646"/>
                </a:lnTo>
                <a:lnTo>
                  <a:pt x="2813" y="1648"/>
                </a:lnTo>
                <a:lnTo>
                  <a:pt x="2803" y="1651"/>
                </a:lnTo>
                <a:lnTo>
                  <a:pt x="2794" y="1654"/>
                </a:lnTo>
                <a:lnTo>
                  <a:pt x="2785" y="1659"/>
                </a:lnTo>
                <a:lnTo>
                  <a:pt x="2777" y="1665"/>
                </a:lnTo>
                <a:lnTo>
                  <a:pt x="2770" y="1671"/>
                </a:lnTo>
                <a:lnTo>
                  <a:pt x="2762" y="1679"/>
                </a:lnTo>
                <a:lnTo>
                  <a:pt x="2755" y="1686"/>
                </a:lnTo>
                <a:lnTo>
                  <a:pt x="2750" y="1695"/>
                </a:lnTo>
                <a:lnTo>
                  <a:pt x="2745" y="1705"/>
                </a:lnTo>
                <a:lnTo>
                  <a:pt x="2741" y="1715"/>
                </a:lnTo>
                <a:lnTo>
                  <a:pt x="2739" y="1727"/>
                </a:lnTo>
                <a:lnTo>
                  <a:pt x="2735" y="1739"/>
                </a:lnTo>
                <a:lnTo>
                  <a:pt x="2734" y="1750"/>
                </a:lnTo>
                <a:lnTo>
                  <a:pt x="2734" y="1763"/>
                </a:lnTo>
                <a:lnTo>
                  <a:pt x="2734" y="1763"/>
                </a:lnTo>
                <a:lnTo>
                  <a:pt x="2734" y="1775"/>
                </a:lnTo>
                <a:lnTo>
                  <a:pt x="2735" y="1788"/>
                </a:lnTo>
                <a:lnTo>
                  <a:pt x="2738" y="1800"/>
                </a:lnTo>
                <a:lnTo>
                  <a:pt x="2741" y="1811"/>
                </a:lnTo>
                <a:lnTo>
                  <a:pt x="2745" y="1821"/>
                </a:lnTo>
                <a:lnTo>
                  <a:pt x="2751" y="1831"/>
                </a:lnTo>
                <a:lnTo>
                  <a:pt x="2757" y="1840"/>
                </a:lnTo>
                <a:lnTo>
                  <a:pt x="2763" y="1848"/>
                </a:lnTo>
                <a:lnTo>
                  <a:pt x="2770" y="1854"/>
                </a:lnTo>
                <a:lnTo>
                  <a:pt x="2778" y="1861"/>
                </a:lnTo>
                <a:lnTo>
                  <a:pt x="2787" y="1867"/>
                </a:lnTo>
                <a:lnTo>
                  <a:pt x="2797" y="1871"/>
                </a:lnTo>
                <a:lnTo>
                  <a:pt x="2807" y="1874"/>
                </a:lnTo>
                <a:lnTo>
                  <a:pt x="2817" y="1878"/>
                </a:lnTo>
                <a:lnTo>
                  <a:pt x="2829" y="1879"/>
                </a:lnTo>
                <a:lnTo>
                  <a:pt x="2840" y="1880"/>
                </a:lnTo>
                <a:lnTo>
                  <a:pt x="2840" y="1880"/>
                </a:lnTo>
                <a:lnTo>
                  <a:pt x="2851" y="1879"/>
                </a:lnTo>
                <a:lnTo>
                  <a:pt x="2862" y="1878"/>
                </a:lnTo>
                <a:lnTo>
                  <a:pt x="2872" y="1874"/>
                </a:lnTo>
                <a:lnTo>
                  <a:pt x="2882" y="1871"/>
                </a:lnTo>
                <a:lnTo>
                  <a:pt x="2892" y="1866"/>
                </a:lnTo>
                <a:lnTo>
                  <a:pt x="2902" y="1860"/>
                </a:lnTo>
                <a:lnTo>
                  <a:pt x="2911" y="1852"/>
                </a:lnTo>
                <a:lnTo>
                  <a:pt x="2919" y="1844"/>
                </a:lnTo>
                <a:lnTo>
                  <a:pt x="2884" y="1810"/>
                </a:lnTo>
                <a:close/>
                <a:moveTo>
                  <a:pt x="2791" y="1739"/>
                </a:moveTo>
                <a:lnTo>
                  <a:pt x="2791" y="1739"/>
                </a:lnTo>
                <a:lnTo>
                  <a:pt x="2792" y="1729"/>
                </a:lnTo>
                <a:lnTo>
                  <a:pt x="2795" y="1720"/>
                </a:lnTo>
                <a:lnTo>
                  <a:pt x="2799" y="1712"/>
                </a:lnTo>
                <a:lnTo>
                  <a:pt x="2803" y="1705"/>
                </a:lnTo>
                <a:lnTo>
                  <a:pt x="2810" y="1700"/>
                </a:lnTo>
                <a:lnTo>
                  <a:pt x="2817" y="1696"/>
                </a:lnTo>
                <a:lnTo>
                  <a:pt x="2824" y="1693"/>
                </a:lnTo>
                <a:lnTo>
                  <a:pt x="2833" y="1693"/>
                </a:lnTo>
                <a:lnTo>
                  <a:pt x="2833" y="1693"/>
                </a:lnTo>
                <a:lnTo>
                  <a:pt x="2843" y="1694"/>
                </a:lnTo>
                <a:lnTo>
                  <a:pt x="2851" y="1696"/>
                </a:lnTo>
                <a:lnTo>
                  <a:pt x="2859" y="1701"/>
                </a:lnTo>
                <a:lnTo>
                  <a:pt x="2864" y="1708"/>
                </a:lnTo>
                <a:lnTo>
                  <a:pt x="2869" y="1714"/>
                </a:lnTo>
                <a:lnTo>
                  <a:pt x="2872" y="1722"/>
                </a:lnTo>
                <a:lnTo>
                  <a:pt x="2874" y="1731"/>
                </a:lnTo>
                <a:lnTo>
                  <a:pt x="2875" y="1739"/>
                </a:lnTo>
                <a:lnTo>
                  <a:pt x="2791" y="1739"/>
                </a:lnTo>
                <a:close/>
                <a:moveTo>
                  <a:pt x="2658" y="1797"/>
                </a:moveTo>
                <a:lnTo>
                  <a:pt x="2658" y="1797"/>
                </a:lnTo>
                <a:lnTo>
                  <a:pt x="2658" y="1804"/>
                </a:lnTo>
                <a:lnTo>
                  <a:pt x="2659" y="1810"/>
                </a:lnTo>
                <a:lnTo>
                  <a:pt x="2661" y="1815"/>
                </a:lnTo>
                <a:lnTo>
                  <a:pt x="2663" y="1820"/>
                </a:lnTo>
                <a:lnTo>
                  <a:pt x="2667" y="1823"/>
                </a:lnTo>
                <a:lnTo>
                  <a:pt x="2671" y="1825"/>
                </a:lnTo>
                <a:lnTo>
                  <a:pt x="2675" y="1827"/>
                </a:lnTo>
                <a:lnTo>
                  <a:pt x="2682" y="1827"/>
                </a:lnTo>
                <a:lnTo>
                  <a:pt x="2682" y="1827"/>
                </a:lnTo>
                <a:lnTo>
                  <a:pt x="2690" y="1827"/>
                </a:lnTo>
                <a:lnTo>
                  <a:pt x="2699" y="1824"/>
                </a:lnTo>
                <a:lnTo>
                  <a:pt x="2708" y="1821"/>
                </a:lnTo>
                <a:lnTo>
                  <a:pt x="2715" y="1817"/>
                </a:lnTo>
                <a:lnTo>
                  <a:pt x="2709" y="1869"/>
                </a:lnTo>
                <a:lnTo>
                  <a:pt x="2709" y="1869"/>
                </a:lnTo>
                <a:lnTo>
                  <a:pt x="2699" y="1873"/>
                </a:lnTo>
                <a:lnTo>
                  <a:pt x="2687" y="1877"/>
                </a:lnTo>
                <a:lnTo>
                  <a:pt x="2674" y="1879"/>
                </a:lnTo>
                <a:lnTo>
                  <a:pt x="2662" y="1880"/>
                </a:lnTo>
                <a:lnTo>
                  <a:pt x="2662" y="1880"/>
                </a:lnTo>
                <a:lnTo>
                  <a:pt x="2654" y="1879"/>
                </a:lnTo>
                <a:lnTo>
                  <a:pt x="2647" y="1878"/>
                </a:lnTo>
                <a:lnTo>
                  <a:pt x="2640" y="1876"/>
                </a:lnTo>
                <a:lnTo>
                  <a:pt x="2634" y="1873"/>
                </a:lnTo>
                <a:lnTo>
                  <a:pt x="2629" y="1870"/>
                </a:lnTo>
                <a:lnTo>
                  <a:pt x="2623" y="1867"/>
                </a:lnTo>
                <a:lnTo>
                  <a:pt x="2620" y="1862"/>
                </a:lnTo>
                <a:lnTo>
                  <a:pt x="2615" y="1857"/>
                </a:lnTo>
                <a:lnTo>
                  <a:pt x="2610" y="1847"/>
                </a:lnTo>
                <a:lnTo>
                  <a:pt x="2605" y="1834"/>
                </a:lnTo>
                <a:lnTo>
                  <a:pt x="2603" y="1823"/>
                </a:lnTo>
                <a:lnTo>
                  <a:pt x="2602" y="1811"/>
                </a:lnTo>
                <a:lnTo>
                  <a:pt x="2602" y="1702"/>
                </a:lnTo>
                <a:lnTo>
                  <a:pt x="2568" y="1702"/>
                </a:lnTo>
                <a:lnTo>
                  <a:pt x="2568" y="1651"/>
                </a:lnTo>
                <a:lnTo>
                  <a:pt x="2602" y="1651"/>
                </a:lnTo>
                <a:lnTo>
                  <a:pt x="2602" y="1593"/>
                </a:lnTo>
                <a:lnTo>
                  <a:pt x="2658" y="1565"/>
                </a:lnTo>
                <a:lnTo>
                  <a:pt x="2658" y="1651"/>
                </a:lnTo>
                <a:lnTo>
                  <a:pt x="2708" y="1651"/>
                </a:lnTo>
                <a:lnTo>
                  <a:pt x="2708" y="1702"/>
                </a:lnTo>
                <a:lnTo>
                  <a:pt x="2658" y="1702"/>
                </a:lnTo>
                <a:lnTo>
                  <a:pt x="2658" y="1797"/>
                </a:lnTo>
                <a:close/>
                <a:moveTo>
                  <a:pt x="2550" y="1869"/>
                </a:moveTo>
                <a:lnTo>
                  <a:pt x="2550" y="1869"/>
                </a:lnTo>
                <a:lnTo>
                  <a:pt x="2540" y="1873"/>
                </a:lnTo>
                <a:lnTo>
                  <a:pt x="2529" y="1877"/>
                </a:lnTo>
                <a:lnTo>
                  <a:pt x="2516" y="1879"/>
                </a:lnTo>
                <a:lnTo>
                  <a:pt x="2504" y="1880"/>
                </a:lnTo>
                <a:lnTo>
                  <a:pt x="2504" y="1880"/>
                </a:lnTo>
                <a:lnTo>
                  <a:pt x="2495" y="1879"/>
                </a:lnTo>
                <a:lnTo>
                  <a:pt x="2489" y="1878"/>
                </a:lnTo>
                <a:lnTo>
                  <a:pt x="2482" y="1876"/>
                </a:lnTo>
                <a:lnTo>
                  <a:pt x="2475" y="1873"/>
                </a:lnTo>
                <a:lnTo>
                  <a:pt x="2471" y="1870"/>
                </a:lnTo>
                <a:lnTo>
                  <a:pt x="2465" y="1867"/>
                </a:lnTo>
                <a:lnTo>
                  <a:pt x="2461" y="1862"/>
                </a:lnTo>
                <a:lnTo>
                  <a:pt x="2458" y="1857"/>
                </a:lnTo>
                <a:lnTo>
                  <a:pt x="2451" y="1847"/>
                </a:lnTo>
                <a:lnTo>
                  <a:pt x="2448" y="1834"/>
                </a:lnTo>
                <a:lnTo>
                  <a:pt x="2444" y="1823"/>
                </a:lnTo>
                <a:lnTo>
                  <a:pt x="2444" y="1811"/>
                </a:lnTo>
                <a:lnTo>
                  <a:pt x="2444" y="1702"/>
                </a:lnTo>
                <a:lnTo>
                  <a:pt x="2410" y="1702"/>
                </a:lnTo>
                <a:lnTo>
                  <a:pt x="2410" y="1651"/>
                </a:lnTo>
                <a:lnTo>
                  <a:pt x="2444" y="1651"/>
                </a:lnTo>
                <a:lnTo>
                  <a:pt x="2444" y="1593"/>
                </a:lnTo>
                <a:lnTo>
                  <a:pt x="2500" y="1565"/>
                </a:lnTo>
                <a:lnTo>
                  <a:pt x="2500" y="1651"/>
                </a:lnTo>
                <a:lnTo>
                  <a:pt x="2546" y="1651"/>
                </a:lnTo>
                <a:lnTo>
                  <a:pt x="2546" y="1702"/>
                </a:lnTo>
                <a:lnTo>
                  <a:pt x="2500" y="1702"/>
                </a:lnTo>
                <a:lnTo>
                  <a:pt x="2500" y="1797"/>
                </a:lnTo>
                <a:lnTo>
                  <a:pt x="2500" y="1797"/>
                </a:lnTo>
                <a:lnTo>
                  <a:pt x="2500" y="1804"/>
                </a:lnTo>
                <a:lnTo>
                  <a:pt x="2501" y="1810"/>
                </a:lnTo>
                <a:lnTo>
                  <a:pt x="2503" y="1815"/>
                </a:lnTo>
                <a:lnTo>
                  <a:pt x="2505" y="1820"/>
                </a:lnTo>
                <a:lnTo>
                  <a:pt x="2509" y="1823"/>
                </a:lnTo>
                <a:lnTo>
                  <a:pt x="2513" y="1825"/>
                </a:lnTo>
                <a:lnTo>
                  <a:pt x="2518" y="1827"/>
                </a:lnTo>
                <a:lnTo>
                  <a:pt x="2523" y="1827"/>
                </a:lnTo>
                <a:lnTo>
                  <a:pt x="2523" y="1827"/>
                </a:lnTo>
                <a:lnTo>
                  <a:pt x="2532" y="1827"/>
                </a:lnTo>
                <a:lnTo>
                  <a:pt x="2541" y="1824"/>
                </a:lnTo>
                <a:lnTo>
                  <a:pt x="2549" y="1821"/>
                </a:lnTo>
                <a:lnTo>
                  <a:pt x="2556" y="1817"/>
                </a:lnTo>
                <a:lnTo>
                  <a:pt x="2550" y="1869"/>
                </a:lnTo>
                <a:close/>
                <a:moveTo>
                  <a:pt x="3096" y="1713"/>
                </a:moveTo>
                <a:lnTo>
                  <a:pt x="3096" y="1713"/>
                </a:lnTo>
                <a:lnTo>
                  <a:pt x="3088" y="1708"/>
                </a:lnTo>
                <a:lnTo>
                  <a:pt x="3079" y="1704"/>
                </a:lnTo>
                <a:lnTo>
                  <a:pt x="3069" y="1702"/>
                </a:lnTo>
                <a:lnTo>
                  <a:pt x="3059" y="1701"/>
                </a:lnTo>
                <a:lnTo>
                  <a:pt x="3059" y="1701"/>
                </a:lnTo>
                <a:lnTo>
                  <a:pt x="3050" y="1702"/>
                </a:lnTo>
                <a:lnTo>
                  <a:pt x="3041" y="1704"/>
                </a:lnTo>
                <a:lnTo>
                  <a:pt x="3034" y="1709"/>
                </a:lnTo>
                <a:lnTo>
                  <a:pt x="3029" y="1714"/>
                </a:lnTo>
                <a:lnTo>
                  <a:pt x="3024" y="1721"/>
                </a:lnTo>
                <a:lnTo>
                  <a:pt x="3022" y="1730"/>
                </a:lnTo>
                <a:lnTo>
                  <a:pt x="3020" y="1741"/>
                </a:lnTo>
                <a:lnTo>
                  <a:pt x="3019" y="1753"/>
                </a:lnTo>
                <a:lnTo>
                  <a:pt x="3019" y="1874"/>
                </a:lnTo>
                <a:lnTo>
                  <a:pt x="2964" y="1874"/>
                </a:lnTo>
                <a:lnTo>
                  <a:pt x="2964" y="1651"/>
                </a:lnTo>
                <a:lnTo>
                  <a:pt x="3019" y="1651"/>
                </a:lnTo>
                <a:lnTo>
                  <a:pt x="3019" y="1670"/>
                </a:lnTo>
                <a:lnTo>
                  <a:pt x="3019" y="1670"/>
                </a:lnTo>
                <a:lnTo>
                  <a:pt x="3024" y="1664"/>
                </a:lnTo>
                <a:lnTo>
                  <a:pt x="3030" y="1659"/>
                </a:lnTo>
                <a:lnTo>
                  <a:pt x="3036" y="1655"/>
                </a:lnTo>
                <a:lnTo>
                  <a:pt x="3042" y="1652"/>
                </a:lnTo>
                <a:lnTo>
                  <a:pt x="3048" y="1649"/>
                </a:lnTo>
                <a:lnTo>
                  <a:pt x="3054" y="1648"/>
                </a:lnTo>
                <a:lnTo>
                  <a:pt x="3061" y="1646"/>
                </a:lnTo>
                <a:lnTo>
                  <a:pt x="3069" y="1645"/>
                </a:lnTo>
                <a:lnTo>
                  <a:pt x="3069" y="1645"/>
                </a:lnTo>
                <a:lnTo>
                  <a:pt x="3080" y="1646"/>
                </a:lnTo>
                <a:lnTo>
                  <a:pt x="3091" y="1650"/>
                </a:lnTo>
                <a:lnTo>
                  <a:pt x="3101" y="1653"/>
                </a:lnTo>
                <a:lnTo>
                  <a:pt x="3110" y="1659"/>
                </a:lnTo>
                <a:lnTo>
                  <a:pt x="3096" y="1713"/>
                </a:lnTo>
                <a:close/>
                <a:moveTo>
                  <a:pt x="597" y="1598"/>
                </a:moveTo>
                <a:lnTo>
                  <a:pt x="597" y="1619"/>
                </a:lnTo>
                <a:lnTo>
                  <a:pt x="541" y="1619"/>
                </a:lnTo>
                <a:lnTo>
                  <a:pt x="541" y="1563"/>
                </a:lnTo>
                <a:lnTo>
                  <a:pt x="597" y="1563"/>
                </a:lnTo>
                <a:lnTo>
                  <a:pt x="597" y="1598"/>
                </a:lnTo>
                <a:close/>
                <a:moveTo>
                  <a:pt x="981" y="1651"/>
                </a:moveTo>
                <a:lnTo>
                  <a:pt x="1037" y="1651"/>
                </a:lnTo>
                <a:lnTo>
                  <a:pt x="1037" y="1765"/>
                </a:lnTo>
                <a:lnTo>
                  <a:pt x="1037" y="1874"/>
                </a:lnTo>
                <a:lnTo>
                  <a:pt x="981" y="1874"/>
                </a:lnTo>
                <a:lnTo>
                  <a:pt x="981" y="1651"/>
                </a:lnTo>
                <a:close/>
                <a:moveTo>
                  <a:pt x="1037" y="1591"/>
                </a:moveTo>
                <a:lnTo>
                  <a:pt x="1037" y="1619"/>
                </a:lnTo>
                <a:lnTo>
                  <a:pt x="981" y="1619"/>
                </a:lnTo>
                <a:lnTo>
                  <a:pt x="981" y="1563"/>
                </a:lnTo>
                <a:lnTo>
                  <a:pt x="1037" y="1563"/>
                </a:lnTo>
                <a:lnTo>
                  <a:pt x="1037" y="1591"/>
                </a:lnTo>
                <a:close/>
                <a:moveTo>
                  <a:pt x="2558" y="2058"/>
                </a:moveTo>
                <a:lnTo>
                  <a:pt x="2558" y="2058"/>
                </a:lnTo>
                <a:lnTo>
                  <a:pt x="2552" y="2053"/>
                </a:lnTo>
                <a:lnTo>
                  <a:pt x="2546" y="2049"/>
                </a:lnTo>
                <a:lnTo>
                  <a:pt x="2541" y="2046"/>
                </a:lnTo>
                <a:lnTo>
                  <a:pt x="2534" y="2042"/>
                </a:lnTo>
                <a:lnTo>
                  <a:pt x="2529" y="2040"/>
                </a:lnTo>
                <a:lnTo>
                  <a:pt x="2522" y="2039"/>
                </a:lnTo>
                <a:lnTo>
                  <a:pt x="2508" y="2037"/>
                </a:lnTo>
                <a:lnTo>
                  <a:pt x="2508" y="2037"/>
                </a:lnTo>
                <a:lnTo>
                  <a:pt x="2498" y="2038"/>
                </a:lnTo>
                <a:lnTo>
                  <a:pt x="2489" y="2039"/>
                </a:lnTo>
                <a:lnTo>
                  <a:pt x="2480" y="2042"/>
                </a:lnTo>
                <a:lnTo>
                  <a:pt x="2471" y="2046"/>
                </a:lnTo>
                <a:lnTo>
                  <a:pt x="2463" y="2050"/>
                </a:lnTo>
                <a:lnTo>
                  <a:pt x="2456" y="2055"/>
                </a:lnTo>
                <a:lnTo>
                  <a:pt x="2450" y="2061"/>
                </a:lnTo>
                <a:lnTo>
                  <a:pt x="2443" y="2068"/>
                </a:lnTo>
                <a:lnTo>
                  <a:pt x="2439" y="2076"/>
                </a:lnTo>
                <a:lnTo>
                  <a:pt x="2433" y="2085"/>
                </a:lnTo>
                <a:lnTo>
                  <a:pt x="2430" y="2093"/>
                </a:lnTo>
                <a:lnTo>
                  <a:pt x="2426" y="2105"/>
                </a:lnTo>
                <a:lnTo>
                  <a:pt x="2423" y="2115"/>
                </a:lnTo>
                <a:lnTo>
                  <a:pt x="2422" y="2127"/>
                </a:lnTo>
                <a:lnTo>
                  <a:pt x="2421" y="2139"/>
                </a:lnTo>
                <a:lnTo>
                  <a:pt x="2420" y="2152"/>
                </a:lnTo>
                <a:lnTo>
                  <a:pt x="2420" y="2152"/>
                </a:lnTo>
                <a:lnTo>
                  <a:pt x="2421" y="2166"/>
                </a:lnTo>
                <a:lnTo>
                  <a:pt x="2422" y="2178"/>
                </a:lnTo>
                <a:lnTo>
                  <a:pt x="2423" y="2190"/>
                </a:lnTo>
                <a:lnTo>
                  <a:pt x="2426" y="2202"/>
                </a:lnTo>
                <a:lnTo>
                  <a:pt x="2429" y="2212"/>
                </a:lnTo>
                <a:lnTo>
                  <a:pt x="2433" y="2222"/>
                </a:lnTo>
                <a:lnTo>
                  <a:pt x="2438" y="2231"/>
                </a:lnTo>
                <a:lnTo>
                  <a:pt x="2443" y="2239"/>
                </a:lnTo>
                <a:lnTo>
                  <a:pt x="2449" y="2247"/>
                </a:lnTo>
                <a:lnTo>
                  <a:pt x="2455" y="2252"/>
                </a:lnTo>
                <a:lnTo>
                  <a:pt x="2462" y="2258"/>
                </a:lnTo>
                <a:lnTo>
                  <a:pt x="2470" y="2262"/>
                </a:lnTo>
                <a:lnTo>
                  <a:pt x="2479" y="2267"/>
                </a:lnTo>
                <a:lnTo>
                  <a:pt x="2488" y="2269"/>
                </a:lnTo>
                <a:lnTo>
                  <a:pt x="2496" y="2270"/>
                </a:lnTo>
                <a:lnTo>
                  <a:pt x="2506" y="2271"/>
                </a:lnTo>
                <a:lnTo>
                  <a:pt x="2506" y="2271"/>
                </a:lnTo>
                <a:lnTo>
                  <a:pt x="2513" y="2270"/>
                </a:lnTo>
                <a:lnTo>
                  <a:pt x="2521" y="2269"/>
                </a:lnTo>
                <a:lnTo>
                  <a:pt x="2528" y="2268"/>
                </a:lnTo>
                <a:lnTo>
                  <a:pt x="2533" y="2266"/>
                </a:lnTo>
                <a:lnTo>
                  <a:pt x="2540" y="2262"/>
                </a:lnTo>
                <a:lnTo>
                  <a:pt x="2546" y="2259"/>
                </a:lnTo>
                <a:lnTo>
                  <a:pt x="2552" y="2255"/>
                </a:lnTo>
                <a:lnTo>
                  <a:pt x="2558" y="2249"/>
                </a:lnTo>
                <a:lnTo>
                  <a:pt x="2558" y="2266"/>
                </a:lnTo>
                <a:lnTo>
                  <a:pt x="2613" y="2266"/>
                </a:lnTo>
                <a:lnTo>
                  <a:pt x="2613" y="1949"/>
                </a:lnTo>
                <a:lnTo>
                  <a:pt x="2558" y="1977"/>
                </a:lnTo>
                <a:lnTo>
                  <a:pt x="2558" y="2058"/>
                </a:lnTo>
                <a:close/>
                <a:moveTo>
                  <a:pt x="2519" y="2220"/>
                </a:moveTo>
                <a:lnTo>
                  <a:pt x="2519" y="2220"/>
                </a:lnTo>
                <a:lnTo>
                  <a:pt x="2511" y="2219"/>
                </a:lnTo>
                <a:lnTo>
                  <a:pt x="2504" y="2217"/>
                </a:lnTo>
                <a:lnTo>
                  <a:pt x="2496" y="2214"/>
                </a:lnTo>
                <a:lnTo>
                  <a:pt x="2490" y="2207"/>
                </a:lnTo>
                <a:lnTo>
                  <a:pt x="2484" y="2198"/>
                </a:lnTo>
                <a:lnTo>
                  <a:pt x="2480" y="2186"/>
                </a:lnTo>
                <a:lnTo>
                  <a:pt x="2478" y="2170"/>
                </a:lnTo>
                <a:lnTo>
                  <a:pt x="2476" y="2150"/>
                </a:lnTo>
                <a:lnTo>
                  <a:pt x="2476" y="2150"/>
                </a:lnTo>
                <a:lnTo>
                  <a:pt x="2478" y="2133"/>
                </a:lnTo>
                <a:lnTo>
                  <a:pt x="2480" y="2119"/>
                </a:lnTo>
                <a:lnTo>
                  <a:pt x="2484" y="2108"/>
                </a:lnTo>
                <a:lnTo>
                  <a:pt x="2490" y="2100"/>
                </a:lnTo>
                <a:lnTo>
                  <a:pt x="2496" y="2095"/>
                </a:lnTo>
                <a:lnTo>
                  <a:pt x="2503" y="2090"/>
                </a:lnTo>
                <a:lnTo>
                  <a:pt x="2511" y="2089"/>
                </a:lnTo>
                <a:lnTo>
                  <a:pt x="2518" y="2088"/>
                </a:lnTo>
                <a:lnTo>
                  <a:pt x="2518" y="2088"/>
                </a:lnTo>
                <a:lnTo>
                  <a:pt x="2525" y="2089"/>
                </a:lnTo>
                <a:lnTo>
                  <a:pt x="2532" y="2090"/>
                </a:lnTo>
                <a:lnTo>
                  <a:pt x="2538" y="2092"/>
                </a:lnTo>
                <a:lnTo>
                  <a:pt x="2543" y="2096"/>
                </a:lnTo>
                <a:lnTo>
                  <a:pt x="2548" y="2099"/>
                </a:lnTo>
                <a:lnTo>
                  <a:pt x="2552" y="2102"/>
                </a:lnTo>
                <a:lnTo>
                  <a:pt x="2558" y="2110"/>
                </a:lnTo>
                <a:lnTo>
                  <a:pt x="2558" y="2198"/>
                </a:lnTo>
                <a:lnTo>
                  <a:pt x="2558" y="2198"/>
                </a:lnTo>
                <a:lnTo>
                  <a:pt x="2551" y="2206"/>
                </a:lnTo>
                <a:lnTo>
                  <a:pt x="2543" y="2212"/>
                </a:lnTo>
                <a:lnTo>
                  <a:pt x="2538" y="2216"/>
                </a:lnTo>
                <a:lnTo>
                  <a:pt x="2532" y="2218"/>
                </a:lnTo>
                <a:lnTo>
                  <a:pt x="2525" y="2219"/>
                </a:lnTo>
                <a:lnTo>
                  <a:pt x="2519" y="2220"/>
                </a:lnTo>
                <a:lnTo>
                  <a:pt x="2519" y="2220"/>
                </a:lnTo>
                <a:close/>
                <a:moveTo>
                  <a:pt x="677" y="2105"/>
                </a:moveTo>
                <a:lnTo>
                  <a:pt x="677" y="2105"/>
                </a:lnTo>
                <a:lnTo>
                  <a:pt x="669" y="2100"/>
                </a:lnTo>
                <a:lnTo>
                  <a:pt x="660" y="2096"/>
                </a:lnTo>
                <a:lnTo>
                  <a:pt x="650" y="2093"/>
                </a:lnTo>
                <a:lnTo>
                  <a:pt x="640" y="2092"/>
                </a:lnTo>
                <a:lnTo>
                  <a:pt x="640" y="2092"/>
                </a:lnTo>
                <a:lnTo>
                  <a:pt x="631" y="2093"/>
                </a:lnTo>
                <a:lnTo>
                  <a:pt x="622" y="2096"/>
                </a:lnTo>
                <a:lnTo>
                  <a:pt x="616" y="2100"/>
                </a:lnTo>
                <a:lnTo>
                  <a:pt x="610" y="2106"/>
                </a:lnTo>
                <a:lnTo>
                  <a:pt x="606" y="2112"/>
                </a:lnTo>
                <a:lnTo>
                  <a:pt x="604" y="2121"/>
                </a:lnTo>
                <a:lnTo>
                  <a:pt x="601" y="2132"/>
                </a:lnTo>
                <a:lnTo>
                  <a:pt x="600" y="2145"/>
                </a:lnTo>
                <a:lnTo>
                  <a:pt x="600" y="2266"/>
                </a:lnTo>
                <a:lnTo>
                  <a:pt x="546" y="2266"/>
                </a:lnTo>
                <a:lnTo>
                  <a:pt x="546" y="2042"/>
                </a:lnTo>
                <a:lnTo>
                  <a:pt x="600" y="2042"/>
                </a:lnTo>
                <a:lnTo>
                  <a:pt x="600" y="2061"/>
                </a:lnTo>
                <a:lnTo>
                  <a:pt x="600" y="2061"/>
                </a:lnTo>
                <a:lnTo>
                  <a:pt x="606" y="2056"/>
                </a:lnTo>
                <a:lnTo>
                  <a:pt x="611" y="2050"/>
                </a:lnTo>
                <a:lnTo>
                  <a:pt x="617" y="2047"/>
                </a:lnTo>
                <a:lnTo>
                  <a:pt x="624" y="2043"/>
                </a:lnTo>
                <a:lnTo>
                  <a:pt x="629" y="2040"/>
                </a:lnTo>
                <a:lnTo>
                  <a:pt x="636" y="2039"/>
                </a:lnTo>
                <a:lnTo>
                  <a:pt x="644" y="2038"/>
                </a:lnTo>
                <a:lnTo>
                  <a:pt x="650" y="2037"/>
                </a:lnTo>
                <a:lnTo>
                  <a:pt x="650" y="2037"/>
                </a:lnTo>
                <a:lnTo>
                  <a:pt x="661" y="2038"/>
                </a:lnTo>
                <a:lnTo>
                  <a:pt x="672" y="2041"/>
                </a:lnTo>
                <a:lnTo>
                  <a:pt x="684" y="2046"/>
                </a:lnTo>
                <a:lnTo>
                  <a:pt x="692" y="2051"/>
                </a:lnTo>
                <a:lnTo>
                  <a:pt x="677" y="2105"/>
                </a:lnTo>
                <a:close/>
                <a:moveTo>
                  <a:pt x="242" y="2042"/>
                </a:moveTo>
                <a:lnTo>
                  <a:pt x="297" y="2042"/>
                </a:lnTo>
                <a:lnTo>
                  <a:pt x="233" y="2266"/>
                </a:lnTo>
                <a:lnTo>
                  <a:pt x="186" y="2266"/>
                </a:lnTo>
                <a:lnTo>
                  <a:pt x="161" y="2174"/>
                </a:lnTo>
                <a:lnTo>
                  <a:pt x="161" y="2174"/>
                </a:lnTo>
                <a:lnTo>
                  <a:pt x="149" y="2125"/>
                </a:lnTo>
                <a:lnTo>
                  <a:pt x="149" y="2125"/>
                </a:lnTo>
                <a:lnTo>
                  <a:pt x="143" y="2148"/>
                </a:lnTo>
                <a:lnTo>
                  <a:pt x="137" y="2175"/>
                </a:lnTo>
                <a:lnTo>
                  <a:pt x="111" y="2266"/>
                </a:lnTo>
                <a:lnTo>
                  <a:pt x="63" y="2266"/>
                </a:lnTo>
                <a:lnTo>
                  <a:pt x="63" y="2265"/>
                </a:lnTo>
                <a:lnTo>
                  <a:pt x="0" y="2042"/>
                </a:lnTo>
                <a:lnTo>
                  <a:pt x="58" y="2042"/>
                </a:lnTo>
                <a:lnTo>
                  <a:pt x="78" y="2126"/>
                </a:lnTo>
                <a:lnTo>
                  <a:pt x="78" y="2126"/>
                </a:lnTo>
                <a:lnTo>
                  <a:pt x="83" y="2152"/>
                </a:lnTo>
                <a:lnTo>
                  <a:pt x="89" y="2180"/>
                </a:lnTo>
                <a:lnTo>
                  <a:pt x="89" y="2180"/>
                </a:lnTo>
                <a:lnTo>
                  <a:pt x="96" y="2152"/>
                </a:lnTo>
                <a:lnTo>
                  <a:pt x="102" y="2125"/>
                </a:lnTo>
                <a:lnTo>
                  <a:pt x="126" y="2042"/>
                </a:lnTo>
                <a:lnTo>
                  <a:pt x="173" y="2042"/>
                </a:lnTo>
                <a:lnTo>
                  <a:pt x="197" y="2125"/>
                </a:lnTo>
                <a:lnTo>
                  <a:pt x="197" y="2125"/>
                </a:lnTo>
                <a:lnTo>
                  <a:pt x="203" y="2151"/>
                </a:lnTo>
                <a:lnTo>
                  <a:pt x="210" y="2181"/>
                </a:lnTo>
                <a:lnTo>
                  <a:pt x="210" y="2181"/>
                </a:lnTo>
                <a:lnTo>
                  <a:pt x="215" y="2156"/>
                </a:lnTo>
                <a:lnTo>
                  <a:pt x="221" y="2125"/>
                </a:lnTo>
                <a:lnTo>
                  <a:pt x="242" y="2042"/>
                </a:lnTo>
                <a:close/>
                <a:moveTo>
                  <a:pt x="409" y="2037"/>
                </a:moveTo>
                <a:lnTo>
                  <a:pt x="409" y="2037"/>
                </a:lnTo>
                <a:lnTo>
                  <a:pt x="399" y="2038"/>
                </a:lnTo>
                <a:lnTo>
                  <a:pt x="388" y="2039"/>
                </a:lnTo>
                <a:lnTo>
                  <a:pt x="378" y="2042"/>
                </a:lnTo>
                <a:lnTo>
                  <a:pt x="369" y="2046"/>
                </a:lnTo>
                <a:lnTo>
                  <a:pt x="360" y="2050"/>
                </a:lnTo>
                <a:lnTo>
                  <a:pt x="351" y="2056"/>
                </a:lnTo>
                <a:lnTo>
                  <a:pt x="343" y="2062"/>
                </a:lnTo>
                <a:lnTo>
                  <a:pt x="337" y="2070"/>
                </a:lnTo>
                <a:lnTo>
                  <a:pt x="330" y="2078"/>
                </a:lnTo>
                <a:lnTo>
                  <a:pt x="325" y="2087"/>
                </a:lnTo>
                <a:lnTo>
                  <a:pt x="319" y="2097"/>
                </a:lnTo>
                <a:lnTo>
                  <a:pt x="316" y="2107"/>
                </a:lnTo>
                <a:lnTo>
                  <a:pt x="312" y="2118"/>
                </a:lnTo>
                <a:lnTo>
                  <a:pt x="310" y="2129"/>
                </a:lnTo>
                <a:lnTo>
                  <a:pt x="308" y="2141"/>
                </a:lnTo>
                <a:lnTo>
                  <a:pt x="308" y="2155"/>
                </a:lnTo>
                <a:lnTo>
                  <a:pt x="308" y="2155"/>
                </a:lnTo>
                <a:lnTo>
                  <a:pt x="308" y="2167"/>
                </a:lnTo>
                <a:lnTo>
                  <a:pt x="310" y="2179"/>
                </a:lnTo>
                <a:lnTo>
                  <a:pt x="312" y="2190"/>
                </a:lnTo>
                <a:lnTo>
                  <a:pt x="316" y="2201"/>
                </a:lnTo>
                <a:lnTo>
                  <a:pt x="319" y="2211"/>
                </a:lnTo>
                <a:lnTo>
                  <a:pt x="325" y="2221"/>
                </a:lnTo>
                <a:lnTo>
                  <a:pt x="330" y="2230"/>
                </a:lnTo>
                <a:lnTo>
                  <a:pt x="337" y="2238"/>
                </a:lnTo>
                <a:lnTo>
                  <a:pt x="343" y="2246"/>
                </a:lnTo>
                <a:lnTo>
                  <a:pt x="351" y="2252"/>
                </a:lnTo>
                <a:lnTo>
                  <a:pt x="360" y="2258"/>
                </a:lnTo>
                <a:lnTo>
                  <a:pt x="369" y="2262"/>
                </a:lnTo>
                <a:lnTo>
                  <a:pt x="378" y="2266"/>
                </a:lnTo>
                <a:lnTo>
                  <a:pt x="388" y="2269"/>
                </a:lnTo>
                <a:lnTo>
                  <a:pt x="399" y="2270"/>
                </a:lnTo>
                <a:lnTo>
                  <a:pt x="409" y="2271"/>
                </a:lnTo>
                <a:lnTo>
                  <a:pt x="409" y="2271"/>
                </a:lnTo>
                <a:lnTo>
                  <a:pt x="420" y="2270"/>
                </a:lnTo>
                <a:lnTo>
                  <a:pt x="431" y="2269"/>
                </a:lnTo>
                <a:lnTo>
                  <a:pt x="441" y="2266"/>
                </a:lnTo>
                <a:lnTo>
                  <a:pt x="450" y="2262"/>
                </a:lnTo>
                <a:lnTo>
                  <a:pt x="459" y="2258"/>
                </a:lnTo>
                <a:lnTo>
                  <a:pt x="468" y="2252"/>
                </a:lnTo>
                <a:lnTo>
                  <a:pt x="476" y="2246"/>
                </a:lnTo>
                <a:lnTo>
                  <a:pt x="482" y="2238"/>
                </a:lnTo>
                <a:lnTo>
                  <a:pt x="489" y="2230"/>
                </a:lnTo>
                <a:lnTo>
                  <a:pt x="495" y="2221"/>
                </a:lnTo>
                <a:lnTo>
                  <a:pt x="499" y="2211"/>
                </a:lnTo>
                <a:lnTo>
                  <a:pt x="504" y="2201"/>
                </a:lnTo>
                <a:lnTo>
                  <a:pt x="507" y="2190"/>
                </a:lnTo>
                <a:lnTo>
                  <a:pt x="509" y="2179"/>
                </a:lnTo>
                <a:lnTo>
                  <a:pt x="511" y="2167"/>
                </a:lnTo>
                <a:lnTo>
                  <a:pt x="511" y="2155"/>
                </a:lnTo>
                <a:lnTo>
                  <a:pt x="511" y="2155"/>
                </a:lnTo>
                <a:lnTo>
                  <a:pt x="511" y="2141"/>
                </a:lnTo>
                <a:lnTo>
                  <a:pt x="509" y="2129"/>
                </a:lnTo>
                <a:lnTo>
                  <a:pt x="507" y="2118"/>
                </a:lnTo>
                <a:lnTo>
                  <a:pt x="504" y="2107"/>
                </a:lnTo>
                <a:lnTo>
                  <a:pt x="499" y="2097"/>
                </a:lnTo>
                <a:lnTo>
                  <a:pt x="495" y="2087"/>
                </a:lnTo>
                <a:lnTo>
                  <a:pt x="489" y="2078"/>
                </a:lnTo>
                <a:lnTo>
                  <a:pt x="482" y="2070"/>
                </a:lnTo>
                <a:lnTo>
                  <a:pt x="476" y="2062"/>
                </a:lnTo>
                <a:lnTo>
                  <a:pt x="468" y="2056"/>
                </a:lnTo>
                <a:lnTo>
                  <a:pt x="459" y="2050"/>
                </a:lnTo>
                <a:lnTo>
                  <a:pt x="450" y="2046"/>
                </a:lnTo>
                <a:lnTo>
                  <a:pt x="441" y="2042"/>
                </a:lnTo>
                <a:lnTo>
                  <a:pt x="431" y="2039"/>
                </a:lnTo>
                <a:lnTo>
                  <a:pt x="420" y="2038"/>
                </a:lnTo>
                <a:lnTo>
                  <a:pt x="409" y="2037"/>
                </a:lnTo>
                <a:lnTo>
                  <a:pt x="409" y="2037"/>
                </a:lnTo>
                <a:close/>
                <a:moveTo>
                  <a:pt x="409" y="2219"/>
                </a:moveTo>
                <a:lnTo>
                  <a:pt x="409" y="2219"/>
                </a:lnTo>
                <a:lnTo>
                  <a:pt x="399" y="2218"/>
                </a:lnTo>
                <a:lnTo>
                  <a:pt x="390" y="2215"/>
                </a:lnTo>
                <a:lnTo>
                  <a:pt x="383" y="2209"/>
                </a:lnTo>
                <a:lnTo>
                  <a:pt x="377" y="2201"/>
                </a:lnTo>
                <a:lnTo>
                  <a:pt x="371" y="2192"/>
                </a:lnTo>
                <a:lnTo>
                  <a:pt x="367" y="2181"/>
                </a:lnTo>
                <a:lnTo>
                  <a:pt x="365" y="2168"/>
                </a:lnTo>
                <a:lnTo>
                  <a:pt x="365" y="2155"/>
                </a:lnTo>
                <a:lnTo>
                  <a:pt x="365" y="2155"/>
                </a:lnTo>
                <a:lnTo>
                  <a:pt x="365" y="2140"/>
                </a:lnTo>
                <a:lnTo>
                  <a:pt x="367" y="2127"/>
                </a:lnTo>
                <a:lnTo>
                  <a:pt x="371" y="2117"/>
                </a:lnTo>
                <a:lnTo>
                  <a:pt x="377" y="2107"/>
                </a:lnTo>
                <a:lnTo>
                  <a:pt x="383" y="2099"/>
                </a:lnTo>
                <a:lnTo>
                  <a:pt x="390" y="2093"/>
                </a:lnTo>
                <a:lnTo>
                  <a:pt x="399" y="2090"/>
                </a:lnTo>
                <a:lnTo>
                  <a:pt x="409" y="2089"/>
                </a:lnTo>
                <a:lnTo>
                  <a:pt x="409" y="2089"/>
                </a:lnTo>
                <a:lnTo>
                  <a:pt x="419" y="2090"/>
                </a:lnTo>
                <a:lnTo>
                  <a:pt x="428" y="2093"/>
                </a:lnTo>
                <a:lnTo>
                  <a:pt x="436" y="2099"/>
                </a:lnTo>
                <a:lnTo>
                  <a:pt x="442" y="2107"/>
                </a:lnTo>
                <a:lnTo>
                  <a:pt x="448" y="2117"/>
                </a:lnTo>
                <a:lnTo>
                  <a:pt x="451" y="2127"/>
                </a:lnTo>
                <a:lnTo>
                  <a:pt x="453" y="2140"/>
                </a:lnTo>
                <a:lnTo>
                  <a:pt x="455" y="2155"/>
                </a:lnTo>
                <a:lnTo>
                  <a:pt x="455" y="2155"/>
                </a:lnTo>
                <a:lnTo>
                  <a:pt x="453" y="2168"/>
                </a:lnTo>
                <a:lnTo>
                  <a:pt x="451" y="2181"/>
                </a:lnTo>
                <a:lnTo>
                  <a:pt x="448" y="2192"/>
                </a:lnTo>
                <a:lnTo>
                  <a:pt x="442" y="2201"/>
                </a:lnTo>
                <a:lnTo>
                  <a:pt x="436" y="2209"/>
                </a:lnTo>
                <a:lnTo>
                  <a:pt x="428" y="2215"/>
                </a:lnTo>
                <a:lnTo>
                  <a:pt x="419" y="2218"/>
                </a:lnTo>
                <a:lnTo>
                  <a:pt x="409" y="2219"/>
                </a:lnTo>
                <a:lnTo>
                  <a:pt x="409" y="2219"/>
                </a:lnTo>
                <a:close/>
                <a:moveTo>
                  <a:pt x="2285" y="2105"/>
                </a:moveTo>
                <a:lnTo>
                  <a:pt x="2285" y="2105"/>
                </a:lnTo>
                <a:lnTo>
                  <a:pt x="2276" y="2100"/>
                </a:lnTo>
                <a:lnTo>
                  <a:pt x="2267" y="2096"/>
                </a:lnTo>
                <a:lnTo>
                  <a:pt x="2257" y="2093"/>
                </a:lnTo>
                <a:lnTo>
                  <a:pt x="2249" y="2092"/>
                </a:lnTo>
                <a:lnTo>
                  <a:pt x="2249" y="2092"/>
                </a:lnTo>
                <a:lnTo>
                  <a:pt x="2239" y="2093"/>
                </a:lnTo>
                <a:lnTo>
                  <a:pt x="2231" y="2096"/>
                </a:lnTo>
                <a:lnTo>
                  <a:pt x="2224" y="2100"/>
                </a:lnTo>
                <a:lnTo>
                  <a:pt x="2219" y="2106"/>
                </a:lnTo>
                <a:lnTo>
                  <a:pt x="2214" y="2112"/>
                </a:lnTo>
                <a:lnTo>
                  <a:pt x="2211" y="2121"/>
                </a:lnTo>
                <a:lnTo>
                  <a:pt x="2209" y="2132"/>
                </a:lnTo>
                <a:lnTo>
                  <a:pt x="2209" y="2145"/>
                </a:lnTo>
                <a:lnTo>
                  <a:pt x="2209" y="2266"/>
                </a:lnTo>
                <a:lnTo>
                  <a:pt x="2153" y="2266"/>
                </a:lnTo>
                <a:lnTo>
                  <a:pt x="2153" y="2042"/>
                </a:lnTo>
                <a:lnTo>
                  <a:pt x="2209" y="2042"/>
                </a:lnTo>
                <a:lnTo>
                  <a:pt x="2209" y="2061"/>
                </a:lnTo>
                <a:lnTo>
                  <a:pt x="2209" y="2061"/>
                </a:lnTo>
                <a:lnTo>
                  <a:pt x="2213" y="2056"/>
                </a:lnTo>
                <a:lnTo>
                  <a:pt x="2219" y="2050"/>
                </a:lnTo>
                <a:lnTo>
                  <a:pt x="2224" y="2047"/>
                </a:lnTo>
                <a:lnTo>
                  <a:pt x="2231" y="2043"/>
                </a:lnTo>
                <a:lnTo>
                  <a:pt x="2237" y="2040"/>
                </a:lnTo>
                <a:lnTo>
                  <a:pt x="2244" y="2039"/>
                </a:lnTo>
                <a:lnTo>
                  <a:pt x="2251" y="2038"/>
                </a:lnTo>
                <a:lnTo>
                  <a:pt x="2257" y="2037"/>
                </a:lnTo>
                <a:lnTo>
                  <a:pt x="2257" y="2037"/>
                </a:lnTo>
                <a:lnTo>
                  <a:pt x="2269" y="2038"/>
                </a:lnTo>
                <a:lnTo>
                  <a:pt x="2280" y="2041"/>
                </a:lnTo>
                <a:lnTo>
                  <a:pt x="2291" y="2046"/>
                </a:lnTo>
                <a:lnTo>
                  <a:pt x="2300" y="2051"/>
                </a:lnTo>
                <a:lnTo>
                  <a:pt x="2285" y="2105"/>
                </a:lnTo>
                <a:close/>
                <a:moveTo>
                  <a:pt x="1850" y="2042"/>
                </a:moveTo>
                <a:lnTo>
                  <a:pt x="1904" y="2042"/>
                </a:lnTo>
                <a:lnTo>
                  <a:pt x="1841" y="2266"/>
                </a:lnTo>
                <a:lnTo>
                  <a:pt x="1793" y="2266"/>
                </a:lnTo>
                <a:lnTo>
                  <a:pt x="1768" y="2174"/>
                </a:lnTo>
                <a:lnTo>
                  <a:pt x="1768" y="2174"/>
                </a:lnTo>
                <a:lnTo>
                  <a:pt x="1756" y="2125"/>
                </a:lnTo>
                <a:lnTo>
                  <a:pt x="1756" y="2125"/>
                </a:lnTo>
                <a:lnTo>
                  <a:pt x="1751" y="2148"/>
                </a:lnTo>
                <a:lnTo>
                  <a:pt x="1744" y="2175"/>
                </a:lnTo>
                <a:lnTo>
                  <a:pt x="1720" y="2266"/>
                </a:lnTo>
                <a:lnTo>
                  <a:pt x="1672" y="2266"/>
                </a:lnTo>
                <a:lnTo>
                  <a:pt x="1671" y="2265"/>
                </a:lnTo>
                <a:lnTo>
                  <a:pt x="1608" y="2042"/>
                </a:lnTo>
                <a:lnTo>
                  <a:pt x="1665" y="2042"/>
                </a:lnTo>
                <a:lnTo>
                  <a:pt x="1686" y="2126"/>
                </a:lnTo>
                <a:lnTo>
                  <a:pt x="1686" y="2126"/>
                </a:lnTo>
                <a:lnTo>
                  <a:pt x="1692" y="2152"/>
                </a:lnTo>
                <a:lnTo>
                  <a:pt x="1697" y="2180"/>
                </a:lnTo>
                <a:lnTo>
                  <a:pt x="1697" y="2180"/>
                </a:lnTo>
                <a:lnTo>
                  <a:pt x="1703" y="2152"/>
                </a:lnTo>
                <a:lnTo>
                  <a:pt x="1711" y="2125"/>
                </a:lnTo>
                <a:lnTo>
                  <a:pt x="1734" y="2042"/>
                </a:lnTo>
                <a:lnTo>
                  <a:pt x="1781" y="2042"/>
                </a:lnTo>
                <a:lnTo>
                  <a:pt x="1804" y="2125"/>
                </a:lnTo>
                <a:lnTo>
                  <a:pt x="1804" y="2125"/>
                </a:lnTo>
                <a:lnTo>
                  <a:pt x="1811" y="2151"/>
                </a:lnTo>
                <a:lnTo>
                  <a:pt x="1817" y="2181"/>
                </a:lnTo>
                <a:lnTo>
                  <a:pt x="1817" y="2181"/>
                </a:lnTo>
                <a:lnTo>
                  <a:pt x="1823" y="2156"/>
                </a:lnTo>
                <a:lnTo>
                  <a:pt x="1830" y="2125"/>
                </a:lnTo>
                <a:lnTo>
                  <a:pt x="1850" y="2042"/>
                </a:lnTo>
                <a:close/>
                <a:moveTo>
                  <a:pt x="2016" y="2037"/>
                </a:moveTo>
                <a:lnTo>
                  <a:pt x="2016" y="2037"/>
                </a:lnTo>
                <a:lnTo>
                  <a:pt x="2006" y="2038"/>
                </a:lnTo>
                <a:lnTo>
                  <a:pt x="1995" y="2039"/>
                </a:lnTo>
                <a:lnTo>
                  <a:pt x="1985" y="2042"/>
                </a:lnTo>
                <a:lnTo>
                  <a:pt x="1976" y="2046"/>
                </a:lnTo>
                <a:lnTo>
                  <a:pt x="1967" y="2050"/>
                </a:lnTo>
                <a:lnTo>
                  <a:pt x="1958" y="2057"/>
                </a:lnTo>
                <a:lnTo>
                  <a:pt x="1951" y="2062"/>
                </a:lnTo>
                <a:lnTo>
                  <a:pt x="1944" y="2070"/>
                </a:lnTo>
                <a:lnTo>
                  <a:pt x="1937" y="2078"/>
                </a:lnTo>
                <a:lnTo>
                  <a:pt x="1932" y="2087"/>
                </a:lnTo>
                <a:lnTo>
                  <a:pt x="1926" y="2097"/>
                </a:lnTo>
                <a:lnTo>
                  <a:pt x="1923" y="2107"/>
                </a:lnTo>
                <a:lnTo>
                  <a:pt x="1920" y="2118"/>
                </a:lnTo>
                <a:lnTo>
                  <a:pt x="1916" y="2130"/>
                </a:lnTo>
                <a:lnTo>
                  <a:pt x="1915" y="2141"/>
                </a:lnTo>
                <a:lnTo>
                  <a:pt x="1915" y="2155"/>
                </a:lnTo>
                <a:lnTo>
                  <a:pt x="1915" y="2155"/>
                </a:lnTo>
                <a:lnTo>
                  <a:pt x="1915" y="2167"/>
                </a:lnTo>
                <a:lnTo>
                  <a:pt x="1916" y="2179"/>
                </a:lnTo>
                <a:lnTo>
                  <a:pt x="1920" y="2190"/>
                </a:lnTo>
                <a:lnTo>
                  <a:pt x="1923" y="2201"/>
                </a:lnTo>
                <a:lnTo>
                  <a:pt x="1926" y="2211"/>
                </a:lnTo>
                <a:lnTo>
                  <a:pt x="1932" y="2221"/>
                </a:lnTo>
                <a:lnTo>
                  <a:pt x="1937" y="2230"/>
                </a:lnTo>
                <a:lnTo>
                  <a:pt x="1944" y="2238"/>
                </a:lnTo>
                <a:lnTo>
                  <a:pt x="1951" y="2246"/>
                </a:lnTo>
                <a:lnTo>
                  <a:pt x="1958" y="2252"/>
                </a:lnTo>
                <a:lnTo>
                  <a:pt x="1967" y="2258"/>
                </a:lnTo>
                <a:lnTo>
                  <a:pt x="1976" y="2262"/>
                </a:lnTo>
                <a:lnTo>
                  <a:pt x="1985" y="2266"/>
                </a:lnTo>
                <a:lnTo>
                  <a:pt x="1995" y="2269"/>
                </a:lnTo>
                <a:lnTo>
                  <a:pt x="2006" y="2270"/>
                </a:lnTo>
                <a:lnTo>
                  <a:pt x="2016" y="2271"/>
                </a:lnTo>
                <a:lnTo>
                  <a:pt x="2016" y="2271"/>
                </a:lnTo>
                <a:lnTo>
                  <a:pt x="2027" y="2270"/>
                </a:lnTo>
                <a:lnTo>
                  <a:pt x="2039" y="2269"/>
                </a:lnTo>
                <a:lnTo>
                  <a:pt x="2049" y="2266"/>
                </a:lnTo>
                <a:lnTo>
                  <a:pt x="2057" y="2262"/>
                </a:lnTo>
                <a:lnTo>
                  <a:pt x="2066" y="2258"/>
                </a:lnTo>
                <a:lnTo>
                  <a:pt x="2075" y="2252"/>
                </a:lnTo>
                <a:lnTo>
                  <a:pt x="2083" y="2246"/>
                </a:lnTo>
                <a:lnTo>
                  <a:pt x="2090" y="2238"/>
                </a:lnTo>
                <a:lnTo>
                  <a:pt x="2096" y="2230"/>
                </a:lnTo>
                <a:lnTo>
                  <a:pt x="2102" y="2221"/>
                </a:lnTo>
                <a:lnTo>
                  <a:pt x="2106" y="2211"/>
                </a:lnTo>
                <a:lnTo>
                  <a:pt x="2111" y="2201"/>
                </a:lnTo>
                <a:lnTo>
                  <a:pt x="2114" y="2190"/>
                </a:lnTo>
                <a:lnTo>
                  <a:pt x="2116" y="2179"/>
                </a:lnTo>
                <a:lnTo>
                  <a:pt x="2119" y="2167"/>
                </a:lnTo>
                <a:lnTo>
                  <a:pt x="2119" y="2155"/>
                </a:lnTo>
                <a:lnTo>
                  <a:pt x="2119" y="2155"/>
                </a:lnTo>
                <a:lnTo>
                  <a:pt x="2119" y="2141"/>
                </a:lnTo>
                <a:lnTo>
                  <a:pt x="2116" y="2130"/>
                </a:lnTo>
                <a:lnTo>
                  <a:pt x="2114" y="2118"/>
                </a:lnTo>
                <a:lnTo>
                  <a:pt x="2111" y="2107"/>
                </a:lnTo>
                <a:lnTo>
                  <a:pt x="2106" y="2097"/>
                </a:lnTo>
                <a:lnTo>
                  <a:pt x="2102" y="2087"/>
                </a:lnTo>
                <a:lnTo>
                  <a:pt x="2096" y="2078"/>
                </a:lnTo>
                <a:lnTo>
                  <a:pt x="2090" y="2070"/>
                </a:lnTo>
                <a:lnTo>
                  <a:pt x="2083" y="2062"/>
                </a:lnTo>
                <a:lnTo>
                  <a:pt x="2075" y="2057"/>
                </a:lnTo>
                <a:lnTo>
                  <a:pt x="2066" y="2050"/>
                </a:lnTo>
                <a:lnTo>
                  <a:pt x="2057" y="2046"/>
                </a:lnTo>
                <a:lnTo>
                  <a:pt x="2049" y="2042"/>
                </a:lnTo>
                <a:lnTo>
                  <a:pt x="2039" y="2039"/>
                </a:lnTo>
                <a:lnTo>
                  <a:pt x="2027" y="2038"/>
                </a:lnTo>
                <a:lnTo>
                  <a:pt x="2016" y="2037"/>
                </a:lnTo>
                <a:lnTo>
                  <a:pt x="2016" y="2037"/>
                </a:lnTo>
                <a:close/>
                <a:moveTo>
                  <a:pt x="2016" y="2219"/>
                </a:moveTo>
                <a:lnTo>
                  <a:pt x="2016" y="2219"/>
                </a:lnTo>
                <a:lnTo>
                  <a:pt x="2006" y="2218"/>
                </a:lnTo>
                <a:lnTo>
                  <a:pt x="1998" y="2215"/>
                </a:lnTo>
                <a:lnTo>
                  <a:pt x="1991" y="2209"/>
                </a:lnTo>
                <a:lnTo>
                  <a:pt x="1984" y="2201"/>
                </a:lnTo>
                <a:lnTo>
                  <a:pt x="1978" y="2192"/>
                </a:lnTo>
                <a:lnTo>
                  <a:pt x="1974" y="2181"/>
                </a:lnTo>
                <a:lnTo>
                  <a:pt x="1972" y="2168"/>
                </a:lnTo>
                <a:lnTo>
                  <a:pt x="1972" y="2155"/>
                </a:lnTo>
                <a:lnTo>
                  <a:pt x="1972" y="2155"/>
                </a:lnTo>
                <a:lnTo>
                  <a:pt x="1972" y="2140"/>
                </a:lnTo>
                <a:lnTo>
                  <a:pt x="1974" y="2128"/>
                </a:lnTo>
                <a:lnTo>
                  <a:pt x="1978" y="2117"/>
                </a:lnTo>
                <a:lnTo>
                  <a:pt x="1984" y="2107"/>
                </a:lnTo>
                <a:lnTo>
                  <a:pt x="1991" y="2099"/>
                </a:lnTo>
                <a:lnTo>
                  <a:pt x="1998" y="2093"/>
                </a:lnTo>
                <a:lnTo>
                  <a:pt x="2006" y="2090"/>
                </a:lnTo>
                <a:lnTo>
                  <a:pt x="2016" y="2089"/>
                </a:lnTo>
                <a:lnTo>
                  <a:pt x="2016" y="2089"/>
                </a:lnTo>
                <a:lnTo>
                  <a:pt x="2026" y="2090"/>
                </a:lnTo>
                <a:lnTo>
                  <a:pt x="2035" y="2093"/>
                </a:lnTo>
                <a:lnTo>
                  <a:pt x="2043" y="2099"/>
                </a:lnTo>
                <a:lnTo>
                  <a:pt x="2050" y="2107"/>
                </a:lnTo>
                <a:lnTo>
                  <a:pt x="2055" y="2117"/>
                </a:lnTo>
                <a:lnTo>
                  <a:pt x="2059" y="2128"/>
                </a:lnTo>
                <a:lnTo>
                  <a:pt x="2061" y="2140"/>
                </a:lnTo>
                <a:lnTo>
                  <a:pt x="2062" y="2155"/>
                </a:lnTo>
                <a:lnTo>
                  <a:pt x="2062" y="2155"/>
                </a:lnTo>
                <a:lnTo>
                  <a:pt x="2061" y="2168"/>
                </a:lnTo>
                <a:lnTo>
                  <a:pt x="2059" y="2181"/>
                </a:lnTo>
                <a:lnTo>
                  <a:pt x="2055" y="2192"/>
                </a:lnTo>
                <a:lnTo>
                  <a:pt x="2050" y="2201"/>
                </a:lnTo>
                <a:lnTo>
                  <a:pt x="2043" y="2209"/>
                </a:lnTo>
                <a:lnTo>
                  <a:pt x="2035" y="2215"/>
                </a:lnTo>
                <a:lnTo>
                  <a:pt x="2026" y="2218"/>
                </a:lnTo>
                <a:lnTo>
                  <a:pt x="2016" y="2219"/>
                </a:lnTo>
                <a:lnTo>
                  <a:pt x="2016" y="2219"/>
                </a:lnTo>
                <a:close/>
                <a:moveTo>
                  <a:pt x="843" y="2116"/>
                </a:moveTo>
                <a:lnTo>
                  <a:pt x="910" y="2266"/>
                </a:lnTo>
                <a:lnTo>
                  <a:pt x="849" y="2266"/>
                </a:lnTo>
                <a:lnTo>
                  <a:pt x="803" y="2162"/>
                </a:lnTo>
                <a:lnTo>
                  <a:pt x="772" y="2199"/>
                </a:lnTo>
                <a:lnTo>
                  <a:pt x="772" y="2266"/>
                </a:lnTo>
                <a:lnTo>
                  <a:pt x="718" y="2266"/>
                </a:lnTo>
                <a:lnTo>
                  <a:pt x="718" y="1977"/>
                </a:lnTo>
                <a:lnTo>
                  <a:pt x="772" y="1949"/>
                </a:lnTo>
                <a:lnTo>
                  <a:pt x="772" y="2128"/>
                </a:lnTo>
                <a:lnTo>
                  <a:pt x="772" y="2128"/>
                </a:lnTo>
                <a:lnTo>
                  <a:pt x="794" y="2099"/>
                </a:lnTo>
                <a:lnTo>
                  <a:pt x="838" y="2042"/>
                </a:lnTo>
                <a:lnTo>
                  <a:pt x="903" y="2042"/>
                </a:lnTo>
                <a:lnTo>
                  <a:pt x="843" y="2116"/>
                </a:lnTo>
                <a:close/>
                <a:moveTo>
                  <a:pt x="1105" y="2266"/>
                </a:moveTo>
                <a:lnTo>
                  <a:pt x="1049" y="2266"/>
                </a:lnTo>
                <a:lnTo>
                  <a:pt x="1049" y="2042"/>
                </a:lnTo>
                <a:lnTo>
                  <a:pt x="1105" y="2042"/>
                </a:lnTo>
                <a:lnTo>
                  <a:pt x="1105" y="2061"/>
                </a:lnTo>
                <a:lnTo>
                  <a:pt x="1105" y="2061"/>
                </a:lnTo>
                <a:lnTo>
                  <a:pt x="1110" y="2056"/>
                </a:lnTo>
                <a:lnTo>
                  <a:pt x="1116" y="2051"/>
                </a:lnTo>
                <a:lnTo>
                  <a:pt x="1123" y="2047"/>
                </a:lnTo>
                <a:lnTo>
                  <a:pt x="1129" y="2043"/>
                </a:lnTo>
                <a:lnTo>
                  <a:pt x="1137" y="2041"/>
                </a:lnTo>
                <a:lnTo>
                  <a:pt x="1145" y="2039"/>
                </a:lnTo>
                <a:lnTo>
                  <a:pt x="1153" y="2038"/>
                </a:lnTo>
                <a:lnTo>
                  <a:pt x="1162" y="2037"/>
                </a:lnTo>
                <a:lnTo>
                  <a:pt x="1162" y="2037"/>
                </a:lnTo>
                <a:lnTo>
                  <a:pt x="1172" y="2038"/>
                </a:lnTo>
                <a:lnTo>
                  <a:pt x="1180" y="2039"/>
                </a:lnTo>
                <a:lnTo>
                  <a:pt x="1188" y="2041"/>
                </a:lnTo>
                <a:lnTo>
                  <a:pt x="1197" y="2043"/>
                </a:lnTo>
                <a:lnTo>
                  <a:pt x="1204" y="2048"/>
                </a:lnTo>
                <a:lnTo>
                  <a:pt x="1210" y="2052"/>
                </a:lnTo>
                <a:lnTo>
                  <a:pt x="1217" y="2057"/>
                </a:lnTo>
                <a:lnTo>
                  <a:pt x="1223" y="2063"/>
                </a:lnTo>
                <a:lnTo>
                  <a:pt x="1227" y="2070"/>
                </a:lnTo>
                <a:lnTo>
                  <a:pt x="1232" y="2078"/>
                </a:lnTo>
                <a:lnTo>
                  <a:pt x="1235" y="2086"/>
                </a:lnTo>
                <a:lnTo>
                  <a:pt x="1238" y="2096"/>
                </a:lnTo>
                <a:lnTo>
                  <a:pt x="1240" y="2106"/>
                </a:lnTo>
                <a:lnTo>
                  <a:pt x="1242" y="2116"/>
                </a:lnTo>
                <a:lnTo>
                  <a:pt x="1243" y="2127"/>
                </a:lnTo>
                <a:lnTo>
                  <a:pt x="1244" y="2139"/>
                </a:lnTo>
                <a:lnTo>
                  <a:pt x="1244" y="2266"/>
                </a:lnTo>
                <a:lnTo>
                  <a:pt x="1188" y="2266"/>
                </a:lnTo>
                <a:lnTo>
                  <a:pt x="1188" y="2142"/>
                </a:lnTo>
                <a:lnTo>
                  <a:pt x="1188" y="2142"/>
                </a:lnTo>
                <a:lnTo>
                  <a:pt x="1187" y="2130"/>
                </a:lnTo>
                <a:lnTo>
                  <a:pt x="1186" y="2118"/>
                </a:lnTo>
                <a:lnTo>
                  <a:pt x="1183" y="2109"/>
                </a:lnTo>
                <a:lnTo>
                  <a:pt x="1178" y="2101"/>
                </a:lnTo>
                <a:lnTo>
                  <a:pt x="1173" y="2096"/>
                </a:lnTo>
                <a:lnTo>
                  <a:pt x="1166" y="2091"/>
                </a:lnTo>
                <a:lnTo>
                  <a:pt x="1157" y="2089"/>
                </a:lnTo>
                <a:lnTo>
                  <a:pt x="1147" y="2088"/>
                </a:lnTo>
                <a:lnTo>
                  <a:pt x="1147" y="2088"/>
                </a:lnTo>
                <a:lnTo>
                  <a:pt x="1138" y="2089"/>
                </a:lnTo>
                <a:lnTo>
                  <a:pt x="1129" y="2091"/>
                </a:lnTo>
                <a:lnTo>
                  <a:pt x="1122" y="2096"/>
                </a:lnTo>
                <a:lnTo>
                  <a:pt x="1116" y="2102"/>
                </a:lnTo>
                <a:lnTo>
                  <a:pt x="1112" y="2109"/>
                </a:lnTo>
                <a:lnTo>
                  <a:pt x="1108" y="2119"/>
                </a:lnTo>
                <a:lnTo>
                  <a:pt x="1106" y="2130"/>
                </a:lnTo>
                <a:lnTo>
                  <a:pt x="1105" y="2142"/>
                </a:lnTo>
                <a:lnTo>
                  <a:pt x="1105" y="2266"/>
                </a:lnTo>
                <a:close/>
                <a:moveTo>
                  <a:pt x="1418" y="2058"/>
                </a:moveTo>
                <a:lnTo>
                  <a:pt x="1418" y="2058"/>
                </a:lnTo>
                <a:lnTo>
                  <a:pt x="1413" y="2053"/>
                </a:lnTo>
                <a:lnTo>
                  <a:pt x="1407" y="2049"/>
                </a:lnTo>
                <a:lnTo>
                  <a:pt x="1402" y="2046"/>
                </a:lnTo>
                <a:lnTo>
                  <a:pt x="1395" y="2042"/>
                </a:lnTo>
                <a:lnTo>
                  <a:pt x="1388" y="2040"/>
                </a:lnTo>
                <a:lnTo>
                  <a:pt x="1382" y="2039"/>
                </a:lnTo>
                <a:lnTo>
                  <a:pt x="1375" y="2038"/>
                </a:lnTo>
                <a:lnTo>
                  <a:pt x="1368" y="2037"/>
                </a:lnTo>
                <a:lnTo>
                  <a:pt x="1368" y="2037"/>
                </a:lnTo>
                <a:lnTo>
                  <a:pt x="1358" y="2038"/>
                </a:lnTo>
                <a:lnTo>
                  <a:pt x="1349" y="2039"/>
                </a:lnTo>
                <a:lnTo>
                  <a:pt x="1340" y="2041"/>
                </a:lnTo>
                <a:lnTo>
                  <a:pt x="1332" y="2046"/>
                </a:lnTo>
                <a:lnTo>
                  <a:pt x="1324" y="2049"/>
                </a:lnTo>
                <a:lnTo>
                  <a:pt x="1317" y="2055"/>
                </a:lnTo>
                <a:lnTo>
                  <a:pt x="1310" y="2061"/>
                </a:lnTo>
                <a:lnTo>
                  <a:pt x="1304" y="2068"/>
                </a:lnTo>
                <a:lnTo>
                  <a:pt x="1298" y="2076"/>
                </a:lnTo>
                <a:lnTo>
                  <a:pt x="1294" y="2085"/>
                </a:lnTo>
                <a:lnTo>
                  <a:pt x="1289" y="2093"/>
                </a:lnTo>
                <a:lnTo>
                  <a:pt x="1286" y="2105"/>
                </a:lnTo>
                <a:lnTo>
                  <a:pt x="1284" y="2115"/>
                </a:lnTo>
                <a:lnTo>
                  <a:pt x="1282" y="2127"/>
                </a:lnTo>
                <a:lnTo>
                  <a:pt x="1280" y="2139"/>
                </a:lnTo>
                <a:lnTo>
                  <a:pt x="1280" y="2151"/>
                </a:lnTo>
                <a:lnTo>
                  <a:pt x="1280" y="2151"/>
                </a:lnTo>
                <a:lnTo>
                  <a:pt x="1280" y="2166"/>
                </a:lnTo>
                <a:lnTo>
                  <a:pt x="1282" y="2178"/>
                </a:lnTo>
                <a:lnTo>
                  <a:pt x="1284" y="2190"/>
                </a:lnTo>
                <a:lnTo>
                  <a:pt x="1286" y="2202"/>
                </a:lnTo>
                <a:lnTo>
                  <a:pt x="1289" y="2212"/>
                </a:lnTo>
                <a:lnTo>
                  <a:pt x="1294" y="2222"/>
                </a:lnTo>
                <a:lnTo>
                  <a:pt x="1298" y="2231"/>
                </a:lnTo>
                <a:lnTo>
                  <a:pt x="1304" y="2239"/>
                </a:lnTo>
                <a:lnTo>
                  <a:pt x="1309" y="2247"/>
                </a:lnTo>
                <a:lnTo>
                  <a:pt x="1316" y="2252"/>
                </a:lnTo>
                <a:lnTo>
                  <a:pt x="1323" y="2258"/>
                </a:lnTo>
                <a:lnTo>
                  <a:pt x="1330" y="2262"/>
                </a:lnTo>
                <a:lnTo>
                  <a:pt x="1339" y="2266"/>
                </a:lnTo>
                <a:lnTo>
                  <a:pt x="1348" y="2269"/>
                </a:lnTo>
                <a:lnTo>
                  <a:pt x="1357" y="2270"/>
                </a:lnTo>
                <a:lnTo>
                  <a:pt x="1367" y="2271"/>
                </a:lnTo>
                <a:lnTo>
                  <a:pt x="1367" y="2271"/>
                </a:lnTo>
                <a:lnTo>
                  <a:pt x="1374" y="2270"/>
                </a:lnTo>
                <a:lnTo>
                  <a:pt x="1382" y="2269"/>
                </a:lnTo>
                <a:lnTo>
                  <a:pt x="1388" y="2268"/>
                </a:lnTo>
                <a:lnTo>
                  <a:pt x="1395" y="2266"/>
                </a:lnTo>
                <a:lnTo>
                  <a:pt x="1401" y="2262"/>
                </a:lnTo>
                <a:lnTo>
                  <a:pt x="1407" y="2259"/>
                </a:lnTo>
                <a:lnTo>
                  <a:pt x="1413" y="2255"/>
                </a:lnTo>
                <a:lnTo>
                  <a:pt x="1418" y="2249"/>
                </a:lnTo>
                <a:lnTo>
                  <a:pt x="1418" y="2255"/>
                </a:lnTo>
                <a:lnTo>
                  <a:pt x="1418" y="2255"/>
                </a:lnTo>
                <a:lnTo>
                  <a:pt x="1418" y="2264"/>
                </a:lnTo>
                <a:lnTo>
                  <a:pt x="1417" y="2274"/>
                </a:lnTo>
                <a:lnTo>
                  <a:pt x="1414" y="2284"/>
                </a:lnTo>
                <a:lnTo>
                  <a:pt x="1412" y="2288"/>
                </a:lnTo>
                <a:lnTo>
                  <a:pt x="1409" y="2293"/>
                </a:lnTo>
                <a:lnTo>
                  <a:pt x="1405" y="2297"/>
                </a:lnTo>
                <a:lnTo>
                  <a:pt x="1401" y="2301"/>
                </a:lnTo>
                <a:lnTo>
                  <a:pt x="1395" y="2305"/>
                </a:lnTo>
                <a:lnTo>
                  <a:pt x="1388" y="2308"/>
                </a:lnTo>
                <a:lnTo>
                  <a:pt x="1379" y="2310"/>
                </a:lnTo>
                <a:lnTo>
                  <a:pt x="1370" y="2313"/>
                </a:lnTo>
                <a:lnTo>
                  <a:pt x="1359" y="2314"/>
                </a:lnTo>
                <a:lnTo>
                  <a:pt x="1346" y="2314"/>
                </a:lnTo>
                <a:lnTo>
                  <a:pt x="1344" y="2314"/>
                </a:lnTo>
                <a:lnTo>
                  <a:pt x="1364" y="2357"/>
                </a:lnTo>
                <a:lnTo>
                  <a:pt x="1365" y="2357"/>
                </a:lnTo>
                <a:lnTo>
                  <a:pt x="1365" y="2357"/>
                </a:lnTo>
                <a:lnTo>
                  <a:pt x="1378" y="2357"/>
                </a:lnTo>
                <a:lnTo>
                  <a:pt x="1390" y="2356"/>
                </a:lnTo>
                <a:lnTo>
                  <a:pt x="1402" y="2353"/>
                </a:lnTo>
                <a:lnTo>
                  <a:pt x="1413" y="2350"/>
                </a:lnTo>
                <a:lnTo>
                  <a:pt x="1423" y="2346"/>
                </a:lnTo>
                <a:lnTo>
                  <a:pt x="1432" y="2341"/>
                </a:lnTo>
                <a:lnTo>
                  <a:pt x="1439" y="2336"/>
                </a:lnTo>
                <a:lnTo>
                  <a:pt x="1446" y="2329"/>
                </a:lnTo>
                <a:lnTo>
                  <a:pt x="1453" y="2321"/>
                </a:lnTo>
                <a:lnTo>
                  <a:pt x="1458" y="2314"/>
                </a:lnTo>
                <a:lnTo>
                  <a:pt x="1463" y="2304"/>
                </a:lnTo>
                <a:lnTo>
                  <a:pt x="1466" y="2294"/>
                </a:lnTo>
                <a:lnTo>
                  <a:pt x="1469" y="2284"/>
                </a:lnTo>
                <a:lnTo>
                  <a:pt x="1472" y="2271"/>
                </a:lnTo>
                <a:lnTo>
                  <a:pt x="1473" y="2259"/>
                </a:lnTo>
                <a:lnTo>
                  <a:pt x="1473" y="2246"/>
                </a:lnTo>
                <a:lnTo>
                  <a:pt x="1473" y="2042"/>
                </a:lnTo>
                <a:lnTo>
                  <a:pt x="1418" y="2042"/>
                </a:lnTo>
                <a:lnTo>
                  <a:pt x="1418" y="2058"/>
                </a:lnTo>
                <a:close/>
                <a:moveTo>
                  <a:pt x="1418" y="2110"/>
                </a:moveTo>
                <a:lnTo>
                  <a:pt x="1418" y="2198"/>
                </a:lnTo>
                <a:lnTo>
                  <a:pt x="1418" y="2198"/>
                </a:lnTo>
                <a:lnTo>
                  <a:pt x="1411" y="2206"/>
                </a:lnTo>
                <a:lnTo>
                  <a:pt x="1403" y="2214"/>
                </a:lnTo>
                <a:lnTo>
                  <a:pt x="1397" y="2216"/>
                </a:lnTo>
                <a:lnTo>
                  <a:pt x="1392" y="2218"/>
                </a:lnTo>
                <a:lnTo>
                  <a:pt x="1386" y="2219"/>
                </a:lnTo>
                <a:lnTo>
                  <a:pt x="1378" y="2220"/>
                </a:lnTo>
                <a:lnTo>
                  <a:pt x="1378" y="2220"/>
                </a:lnTo>
                <a:lnTo>
                  <a:pt x="1372" y="2219"/>
                </a:lnTo>
                <a:lnTo>
                  <a:pt x="1364" y="2217"/>
                </a:lnTo>
                <a:lnTo>
                  <a:pt x="1357" y="2214"/>
                </a:lnTo>
                <a:lnTo>
                  <a:pt x="1350" y="2207"/>
                </a:lnTo>
                <a:lnTo>
                  <a:pt x="1345" y="2198"/>
                </a:lnTo>
                <a:lnTo>
                  <a:pt x="1340" y="2186"/>
                </a:lnTo>
                <a:lnTo>
                  <a:pt x="1338" y="2170"/>
                </a:lnTo>
                <a:lnTo>
                  <a:pt x="1337" y="2150"/>
                </a:lnTo>
                <a:lnTo>
                  <a:pt x="1337" y="2150"/>
                </a:lnTo>
                <a:lnTo>
                  <a:pt x="1338" y="2133"/>
                </a:lnTo>
                <a:lnTo>
                  <a:pt x="1340" y="2119"/>
                </a:lnTo>
                <a:lnTo>
                  <a:pt x="1345" y="2108"/>
                </a:lnTo>
                <a:lnTo>
                  <a:pt x="1350" y="2100"/>
                </a:lnTo>
                <a:lnTo>
                  <a:pt x="1357" y="2095"/>
                </a:lnTo>
                <a:lnTo>
                  <a:pt x="1364" y="2090"/>
                </a:lnTo>
                <a:lnTo>
                  <a:pt x="1372" y="2089"/>
                </a:lnTo>
                <a:lnTo>
                  <a:pt x="1378" y="2088"/>
                </a:lnTo>
                <a:lnTo>
                  <a:pt x="1378" y="2088"/>
                </a:lnTo>
                <a:lnTo>
                  <a:pt x="1386" y="2089"/>
                </a:lnTo>
                <a:lnTo>
                  <a:pt x="1393" y="2090"/>
                </a:lnTo>
                <a:lnTo>
                  <a:pt x="1398" y="2092"/>
                </a:lnTo>
                <a:lnTo>
                  <a:pt x="1404" y="2096"/>
                </a:lnTo>
                <a:lnTo>
                  <a:pt x="1408" y="2099"/>
                </a:lnTo>
                <a:lnTo>
                  <a:pt x="1412" y="2102"/>
                </a:lnTo>
                <a:lnTo>
                  <a:pt x="1418" y="2110"/>
                </a:lnTo>
                <a:lnTo>
                  <a:pt x="1418" y="2110"/>
                </a:lnTo>
                <a:close/>
                <a:moveTo>
                  <a:pt x="945" y="2042"/>
                </a:moveTo>
                <a:lnTo>
                  <a:pt x="1000" y="2042"/>
                </a:lnTo>
                <a:lnTo>
                  <a:pt x="1000" y="2141"/>
                </a:lnTo>
                <a:lnTo>
                  <a:pt x="1000" y="2266"/>
                </a:lnTo>
                <a:lnTo>
                  <a:pt x="945" y="2266"/>
                </a:lnTo>
                <a:lnTo>
                  <a:pt x="945" y="2042"/>
                </a:lnTo>
                <a:close/>
                <a:moveTo>
                  <a:pt x="1000" y="1982"/>
                </a:moveTo>
                <a:lnTo>
                  <a:pt x="1000" y="2010"/>
                </a:lnTo>
                <a:lnTo>
                  <a:pt x="945" y="2010"/>
                </a:lnTo>
                <a:lnTo>
                  <a:pt x="945" y="1954"/>
                </a:lnTo>
                <a:lnTo>
                  <a:pt x="1000" y="1954"/>
                </a:lnTo>
                <a:lnTo>
                  <a:pt x="1000" y="1982"/>
                </a:lnTo>
                <a:close/>
                <a:moveTo>
                  <a:pt x="2325" y="1977"/>
                </a:moveTo>
                <a:lnTo>
                  <a:pt x="2381" y="1949"/>
                </a:lnTo>
                <a:lnTo>
                  <a:pt x="2381" y="2151"/>
                </a:lnTo>
                <a:lnTo>
                  <a:pt x="2381" y="2266"/>
                </a:lnTo>
                <a:lnTo>
                  <a:pt x="2325" y="2266"/>
                </a:lnTo>
                <a:lnTo>
                  <a:pt x="2325" y="1977"/>
                </a:lnTo>
                <a:close/>
                <a:moveTo>
                  <a:pt x="400" y="762"/>
                </a:moveTo>
                <a:lnTo>
                  <a:pt x="856" y="762"/>
                </a:lnTo>
                <a:lnTo>
                  <a:pt x="856" y="498"/>
                </a:lnTo>
                <a:lnTo>
                  <a:pt x="400" y="498"/>
                </a:lnTo>
                <a:lnTo>
                  <a:pt x="400" y="290"/>
                </a:lnTo>
                <a:lnTo>
                  <a:pt x="905" y="290"/>
                </a:lnTo>
                <a:lnTo>
                  <a:pt x="737" y="0"/>
                </a:lnTo>
                <a:lnTo>
                  <a:pt x="22" y="0"/>
                </a:lnTo>
                <a:lnTo>
                  <a:pt x="22" y="1261"/>
                </a:lnTo>
                <a:lnTo>
                  <a:pt x="1030" y="1261"/>
                </a:lnTo>
                <a:lnTo>
                  <a:pt x="1030" y="970"/>
                </a:lnTo>
                <a:lnTo>
                  <a:pt x="400" y="970"/>
                </a:lnTo>
                <a:lnTo>
                  <a:pt x="400" y="762"/>
                </a:lnTo>
                <a:close/>
                <a:moveTo>
                  <a:pt x="1702" y="0"/>
                </a:moveTo>
                <a:lnTo>
                  <a:pt x="1487" y="411"/>
                </a:lnTo>
                <a:lnTo>
                  <a:pt x="1274" y="0"/>
                </a:lnTo>
                <a:lnTo>
                  <a:pt x="856" y="0"/>
                </a:lnTo>
                <a:lnTo>
                  <a:pt x="1296" y="762"/>
                </a:lnTo>
                <a:lnTo>
                  <a:pt x="1296" y="1261"/>
                </a:lnTo>
                <a:lnTo>
                  <a:pt x="1673" y="1261"/>
                </a:lnTo>
                <a:lnTo>
                  <a:pt x="1673" y="762"/>
                </a:lnTo>
                <a:lnTo>
                  <a:pt x="2114" y="0"/>
                </a:lnTo>
                <a:lnTo>
                  <a:pt x="170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061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1E91E-A209-4E96-9D6C-A9DCF1D1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E6034-49AB-463B-8E8D-7146C27CF8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F7E5A7-2911-41BC-A689-D7FA06326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9616BE-2DA6-42A7-AFA0-8C6DE6FA1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E253-9721-487E-83D9-6DA3A36CB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770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7A3EF4-87BC-4EE3-80CC-623736BCE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7A3EF4-87BC-4EE3-80CC-623736BCE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7A47FE-8BB5-4134-AF17-E7DFE137D4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96C63F-FAA2-4ABD-B2C0-7BAC13A9FE4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74933"/>
          </a:xfrm>
          <a:prstGeom prst="rect">
            <a:avLst/>
          </a:prstGeom>
        </p:spPr>
      </p:pic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387182" y="5340350"/>
            <a:ext cx="986911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387182" y="5340350"/>
            <a:ext cx="790163" cy="288925"/>
          </a:xfrm>
          <a:custGeom>
            <a:avLst/>
            <a:gdLst>
              <a:gd name="T0" fmla="*/ 2491 w 2491"/>
              <a:gd name="T1" fmla="*/ 0 h 910"/>
              <a:gd name="T2" fmla="*/ 0 w 2491"/>
              <a:gd name="T3" fmla="*/ 910 h 910"/>
              <a:gd name="T4" fmla="*/ 2491 w 2491"/>
              <a:gd name="T5" fmla="*/ 469 h 910"/>
              <a:gd name="T6" fmla="*/ 2491 w 2491"/>
              <a:gd name="T7" fmla="*/ 0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91" h="910">
                <a:moveTo>
                  <a:pt x="2491" y="0"/>
                </a:moveTo>
                <a:lnTo>
                  <a:pt x="0" y="910"/>
                </a:lnTo>
                <a:lnTo>
                  <a:pt x="2491" y="469"/>
                </a:lnTo>
                <a:lnTo>
                  <a:pt x="2491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387182" y="5749925"/>
            <a:ext cx="986911" cy="747713"/>
          </a:xfrm>
          <a:custGeom>
            <a:avLst/>
            <a:gdLst>
              <a:gd name="T0" fmla="*/ 235 w 3110"/>
              <a:gd name="T1" fmla="*/ 1600 h 2357"/>
              <a:gd name="T2" fmla="*/ 255 w 3110"/>
              <a:gd name="T3" fmla="*/ 1809 h 2357"/>
              <a:gd name="T4" fmla="*/ 152 w 3110"/>
              <a:gd name="T5" fmla="*/ 1823 h 2357"/>
              <a:gd name="T6" fmla="*/ 353 w 3110"/>
              <a:gd name="T7" fmla="*/ 1774 h 2357"/>
              <a:gd name="T8" fmla="*/ 419 w 3110"/>
              <a:gd name="T9" fmla="*/ 1871 h 2357"/>
              <a:gd name="T10" fmla="*/ 1148 w 3110"/>
              <a:gd name="T11" fmla="*/ 1664 h 2357"/>
              <a:gd name="T12" fmla="*/ 1225 w 3110"/>
              <a:gd name="T13" fmla="*/ 1751 h 2357"/>
              <a:gd name="T14" fmla="*/ 701 w 3110"/>
              <a:gd name="T15" fmla="*/ 1558 h 2357"/>
              <a:gd name="T16" fmla="*/ 744 w 3110"/>
              <a:gd name="T17" fmla="*/ 1723 h 2357"/>
              <a:gd name="T18" fmla="*/ 866 w 3110"/>
              <a:gd name="T19" fmla="*/ 1868 h 2357"/>
              <a:gd name="T20" fmla="*/ 838 w 3110"/>
              <a:gd name="T21" fmla="*/ 1696 h 2357"/>
              <a:gd name="T22" fmla="*/ 2035 w 3110"/>
              <a:gd name="T23" fmla="*/ 1874 h 2357"/>
              <a:gd name="T24" fmla="*/ 2173 w 3110"/>
              <a:gd name="T25" fmla="*/ 1760 h 2357"/>
              <a:gd name="T26" fmla="*/ 2115 w 3110"/>
              <a:gd name="T27" fmla="*/ 1743 h 2357"/>
              <a:gd name="T28" fmla="*/ 2074 w 3110"/>
              <a:gd name="T29" fmla="*/ 1696 h 2357"/>
              <a:gd name="T30" fmla="*/ 1318 w 3110"/>
              <a:gd name="T31" fmla="*/ 1748 h 2357"/>
              <a:gd name="T32" fmla="*/ 1455 w 3110"/>
              <a:gd name="T33" fmla="*/ 1858 h 2357"/>
              <a:gd name="T34" fmla="*/ 1484 w 3110"/>
              <a:gd name="T35" fmla="*/ 1938 h 2357"/>
              <a:gd name="T36" fmla="*/ 1378 w 3110"/>
              <a:gd name="T37" fmla="*/ 1794 h 2357"/>
              <a:gd name="T38" fmla="*/ 1740 w 3110"/>
              <a:gd name="T39" fmla="*/ 1690 h 2357"/>
              <a:gd name="T40" fmla="*/ 1644 w 3110"/>
              <a:gd name="T41" fmla="*/ 1791 h 2357"/>
              <a:gd name="T42" fmla="*/ 1835 w 3110"/>
              <a:gd name="T43" fmla="*/ 1723 h 2357"/>
              <a:gd name="T44" fmla="*/ 1698 w 3110"/>
              <a:gd name="T45" fmla="*/ 1800 h 2357"/>
              <a:gd name="T46" fmla="*/ 1721 w 3110"/>
              <a:gd name="T47" fmla="*/ 1831 h 2357"/>
              <a:gd name="T48" fmla="*/ 2256 w 3110"/>
              <a:gd name="T49" fmla="*/ 1780 h 2357"/>
              <a:gd name="T50" fmla="*/ 2243 w 3110"/>
              <a:gd name="T51" fmla="*/ 1665 h 2357"/>
              <a:gd name="T52" fmla="*/ 2306 w 3110"/>
              <a:gd name="T53" fmla="*/ 1880 h 2357"/>
              <a:gd name="T54" fmla="*/ 2338 w 3110"/>
              <a:gd name="T55" fmla="*/ 1722 h 2357"/>
              <a:gd name="T56" fmla="*/ 2929 w 3110"/>
              <a:gd name="T57" fmla="*/ 1763 h 2357"/>
              <a:gd name="T58" fmla="*/ 2750 w 3110"/>
              <a:gd name="T59" fmla="*/ 1695 h 2357"/>
              <a:gd name="T60" fmla="*/ 2872 w 3110"/>
              <a:gd name="T61" fmla="*/ 1874 h 2357"/>
              <a:gd name="T62" fmla="*/ 2658 w 3110"/>
              <a:gd name="T63" fmla="*/ 1797 h 2357"/>
              <a:gd name="T64" fmla="*/ 2623 w 3110"/>
              <a:gd name="T65" fmla="*/ 1867 h 2357"/>
              <a:gd name="T66" fmla="*/ 2482 w 3110"/>
              <a:gd name="T67" fmla="*/ 1876 h 2357"/>
              <a:gd name="T68" fmla="*/ 2513 w 3110"/>
              <a:gd name="T69" fmla="*/ 1825 h 2357"/>
              <a:gd name="T70" fmla="*/ 3019 w 3110"/>
              <a:gd name="T71" fmla="*/ 1651 h 2357"/>
              <a:gd name="T72" fmla="*/ 981 w 3110"/>
              <a:gd name="T73" fmla="*/ 1874 h 2357"/>
              <a:gd name="T74" fmla="*/ 2433 w 3110"/>
              <a:gd name="T75" fmla="*/ 2085 h 2357"/>
              <a:gd name="T76" fmla="*/ 2528 w 3110"/>
              <a:gd name="T77" fmla="*/ 2268 h 2357"/>
              <a:gd name="T78" fmla="*/ 2503 w 3110"/>
              <a:gd name="T79" fmla="*/ 2090 h 2357"/>
              <a:gd name="T80" fmla="*/ 631 w 3110"/>
              <a:gd name="T81" fmla="*/ 2093 h 2357"/>
              <a:gd name="T82" fmla="*/ 677 w 3110"/>
              <a:gd name="T83" fmla="*/ 2105 h 2357"/>
              <a:gd name="T84" fmla="*/ 203 w 3110"/>
              <a:gd name="T85" fmla="*/ 2151 h 2357"/>
              <a:gd name="T86" fmla="*/ 312 w 3110"/>
              <a:gd name="T87" fmla="*/ 2190 h 2357"/>
              <a:gd name="T88" fmla="*/ 507 w 3110"/>
              <a:gd name="T89" fmla="*/ 2190 h 2357"/>
              <a:gd name="T90" fmla="*/ 377 w 3110"/>
              <a:gd name="T91" fmla="*/ 2201 h 2357"/>
              <a:gd name="T92" fmla="*/ 442 w 3110"/>
              <a:gd name="T93" fmla="*/ 2201 h 2357"/>
              <a:gd name="T94" fmla="*/ 2213 w 3110"/>
              <a:gd name="T95" fmla="*/ 2056 h 2357"/>
              <a:gd name="T96" fmla="*/ 1608 w 3110"/>
              <a:gd name="T97" fmla="*/ 2042 h 2357"/>
              <a:gd name="T98" fmla="*/ 1951 w 3110"/>
              <a:gd name="T99" fmla="*/ 2062 h 2357"/>
              <a:gd name="T100" fmla="*/ 2016 w 3110"/>
              <a:gd name="T101" fmla="*/ 2271 h 2357"/>
              <a:gd name="T102" fmla="*/ 2075 w 3110"/>
              <a:gd name="T103" fmla="*/ 2057 h 2357"/>
              <a:gd name="T104" fmla="*/ 2016 w 3110"/>
              <a:gd name="T105" fmla="*/ 2089 h 2357"/>
              <a:gd name="T106" fmla="*/ 772 w 3110"/>
              <a:gd name="T107" fmla="*/ 1949 h 2357"/>
              <a:gd name="T108" fmla="*/ 1210 w 3110"/>
              <a:gd name="T109" fmla="*/ 2052 h 2357"/>
              <a:gd name="T110" fmla="*/ 1116 w 3110"/>
              <a:gd name="T111" fmla="*/ 2102 h 2357"/>
              <a:gd name="T112" fmla="*/ 1289 w 3110"/>
              <a:gd name="T113" fmla="*/ 2093 h 2357"/>
              <a:gd name="T114" fmla="*/ 1395 w 3110"/>
              <a:gd name="T115" fmla="*/ 2266 h 2357"/>
              <a:gd name="T116" fmla="*/ 1413 w 3110"/>
              <a:gd name="T117" fmla="*/ 2350 h 2357"/>
              <a:gd name="T118" fmla="*/ 1364 w 3110"/>
              <a:gd name="T119" fmla="*/ 2217 h 2357"/>
              <a:gd name="T120" fmla="*/ 1000 w 3110"/>
              <a:gd name="T121" fmla="*/ 2141 h 2357"/>
              <a:gd name="T122" fmla="*/ 400 w 3110"/>
              <a:gd name="T123" fmla="*/ 970 h 2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10" h="2357">
                <a:moveTo>
                  <a:pt x="259" y="1777"/>
                </a:moveTo>
                <a:lnTo>
                  <a:pt x="259" y="1777"/>
                </a:lnTo>
                <a:lnTo>
                  <a:pt x="259" y="1769"/>
                </a:lnTo>
                <a:lnTo>
                  <a:pt x="258" y="1762"/>
                </a:lnTo>
                <a:lnTo>
                  <a:pt x="255" y="1749"/>
                </a:lnTo>
                <a:lnTo>
                  <a:pt x="249" y="1738"/>
                </a:lnTo>
                <a:lnTo>
                  <a:pt x="242" y="1729"/>
                </a:lnTo>
                <a:lnTo>
                  <a:pt x="235" y="1722"/>
                </a:lnTo>
                <a:lnTo>
                  <a:pt x="227" y="1717"/>
                </a:lnTo>
                <a:lnTo>
                  <a:pt x="220" y="1712"/>
                </a:lnTo>
                <a:lnTo>
                  <a:pt x="213" y="1709"/>
                </a:lnTo>
                <a:lnTo>
                  <a:pt x="213" y="1709"/>
                </a:lnTo>
                <a:lnTo>
                  <a:pt x="221" y="1703"/>
                </a:lnTo>
                <a:lnTo>
                  <a:pt x="228" y="1698"/>
                </a:lnTo>
                <a:lnTo>
                  <a:pt x="233" y="1691"/>
                </a:lnTo>
                <a:lnTo>
                  <a:pt x="239" y="1683"/>
                </a:lnTo>
                <a:lnTo>
                  <a:pt x="243" y="1675"/>
                </a:lnTo>
                <a:lnTo>
                  <a:pt x="246" y="1666"/>
                </a:lnTo>
                <a:lnTo>
                  <a:pt x="248" y="1658"/>
                </a:lnTo>
                <a:lnTo>
                  <a:pt x="248" y="1648"/>
                </a:lnTo>
                <a:lnTo>
                  <a:pt x="248" y="1648"/>
                </a:lnTo>
                <a:lnTo>
                  <a:pt x="248" y="1639"/>
                </a:lnTo>
                <a:lnTo>
                  <a:pt x="247" y="1630"/>
                </a:lnTo>
                <a:lnTo>
                  <a:pt x="245" y="1622"/>
                </a:lnTo>
                <a:lnTo>
                  <a:pt x="242" y="1614"/>
                </a:lnTo>
                <a:lnTo>
                  <a:pt x="239" y="1606"/>
                </a:lnTo>
                <a:lnTo>
                  <a:pt x="235" y="1600"/>
                </a:lnTo>
                <a:lnTo>
                  <a:pt x="229" y="1594"/>
                </a:lnTo>
                <a:lnTo>
                  <a:pt x="223" y="1589"/>
                </a:lnTo>
                <a:lnTo>
                  <a:pt x="217" y="1584"/>
                </a:lnTo>
                <a:lnTo>
                  <a:pt x="210" y="1580"/>
                </a:lnTo>
                <a:lnTo>
                  <a:pt x="202" y="1576"/>
                </a:lnTo>
                <a:lnTo>
                  <a:pt x="193" y="1573"/>
                </a:lnTo>
                <a:lnTo>
                  <a:pt x="185" y="1571"/>
                </a:lnTo>
                <a:lnTo>
                  <a:pt x="175" y="1569"/>
                </a:lnTo>
                <a:lnTo>
                  <a:pt x="165" y="1569"/>
                </a:lnTo>
                <a:lnTo>
                  <a:pt x="153" y="1568"/>
                </a:lnTo>
                <a:lnTo>
                  <a:pt x="22" y="1568"/>
                </a:lnTo>
                <a:lnTo>
                  <a:pt x="22" y="1874"/>
                </a:lnTo>
                <a:lnTo>
                  <a:pt x="152" y="1874"/>
                </a:lnTo>
                <a:lnTo>
                  <a:pt x="152" y="1874"/>
                </a:lnTo>
                <a:lnTo>
                  <a:pt x="165" y="1874"/>
                </a:lnTo>
                <a:lnTo>
                  <a:pt x="176" y="1873"/>
                </a:lnTo>
                <a:lnTo>
                  <a:pt x="187" y="1871"/>
                </a:lnTo>
                <a:lnTo>
                  <a:pt x="197" y="1868"/>
                </a:lnTo>
                <a:lnTo>
                  <a:pt x="207" y="1864"/>
                </a:lnTo>
                <a:lnTo>
                  <a:pt x="216" y="1860"/>
                </a:lnTo>
                <a:lnTo>
                  <a:pt x="223" y="1854"/>
                </a:lnTo>
                <a:lnTo>
                  <a:pt x="230" y="1849"/>
                </a:lnTo>
                <a:lnTo>
                  <a:pt x="237" y="1842"/>
                </a:lnTo>
                <a:lnTo>
                  <a:pt x="242" y="1834"/>
                </a:lnTo>
                <a:lnTo>
                  <a:pt x="248" y="1827"/>
                </a:lnTo>
                <a:lnTo>
                  <a:pt x="251" y="1818"/>
                </a:lnTo>
                <a:lnTo>
                  <a:pt x="255" y="1809"/>
                </a:lnTo>
                <a:lnTo>
                  <a:pt x="257" y="1799"/>
                </a:lnTo>
                <a:lnTo>
                  <a:pt x="258" y="1788"/>
                </a:lnTo>
                <a:lnTo>
                  <a:pt x="259" y="1777"/>
                </a:lnTo>
                <a:lnTo>
                  <a:pt x="259" y="1777"/>
                </a:lnTo>
                <a:close/>
                <a:moveTo>
                  <a:pt x="152" y="1823"/>
                </a:moveTo>
                <a:lnTo>
                  <a:pt x="79" y="1823"/>
                </a:lnTo>
                <a:lnTo>
                  <a:pt x="79" y="1735"/>
                </a:lnTo>
                <a:lnTo>
                  <a:pt x="152" y="1735"/>
                </a:lnTo>
                <a:lnTo>
                  <a:pt x="152" y="1735"/>
                </a:lnTo>
                <a:lnTo>
                  <a:pt x="163" y="1737"/>
                </a:lnTo>
                <a:lnTo>
                  <a:pt x="172" y="1738"/>
                </a:lnTo>
                <a:lnTo>
                  <a:pt x="180" y="1741"/>
                </a:lnTo>
                <a:lnTo>
                  <a:pt x="187" y="1747"/>
                </a:lnTo>
                <a:lnTo>
                  <a:pt x="192" y="1752"/>
                </a:lnTo>
                <a:lnTo>
                  <a:pt x="196" y="1760"/>
                </a:lnTo>
                <a:lnTo>
                  <a:pt x="198" y="1769"/>
                </a:lnTo>
                <a:lnTo>
                  <a:pt x="199" y="1779"/>
                </a:lnTo>
                <a:lnTo>
                  <a:pt x="199" y="1779"/>
                </a:lnTo>
                <a:lnTo>
                  <a:pt x="198" y="1789"/>
                </a:lnTo>
                <a:lnTo>
                  <a:pt x="196" y="1798"/>
                </a:lnTo>
                <a:lnTo>
                  <a:pt x="191" y="1805"/>
                </a:lnTo>
                <a:lnTo>
                  <a:pt x="187" y="1811"/>
                </a:lnTo>
                <a:lnTo>
                  <a:pt x="180" y="1817"/>
                </a:lnTo>
                <a:lnTo>
                  <a:pt x="172" y="1820"/>
                </a:lnTo>
                <a:lnTo>
                  <a:pt x="162" y="1822"/>
                </a:lnTo>
                <a:lnTo>
                  <a:pt x="152" y="1823"/>
                </a:lnTo>
                <a:lnTo>
                  <a:pt x="152" y="1823"/>
                </a:lnTo>
                <a:close/>
                <a:moveTo>
                  <a:pt x="151" y="1685"/>
                </a:moveTo>
                <a:lnTo>
                  <a:pt x="79" y="1685"/>
                </a:lnTo>
                <a:lnTo>
                  <a:pt x="79" y="1620"/>
                </a:lnTo>
                <a:lnTo>
                  <a:pt x="149" y="1620"/>
                </a:lnTo>
                <a:lnTo>
                  <a:pt x="149" y="1620"/>
                </a:lnTo>
                <a:lnTo>
                  <a:pt x="158" y="1621"/>
                </a:lnTo>
                <a:lnTo>
                  <a:pt x="167" y="1622"/>
                </a:lnTo>
                <a:lnTo>
                  <a:pt x="173" y="1624"/>
                </a:lnTo>
                <a:lnTo>
                  <a:pt x="179" y="1628"/>
                </a:lnTo>
                <a:lnTo>
                  <a:pt x="183" y="1633"/>
                </a:lnTo>
                <a:lnTo>
                  <a:pt x="187" y="1639"/>
                </a:lnTo>
                <a:lnTo>
                  <a:pt x="188" y="1645"/>
                </a:lnTo>
                <a:lnTo>
                  <a:pt x="189" y="1653"/>
                </a:lnTo>
                <a:lnTo>
                  <a:pt x="189" y="1653"/>
                </a:lnTo>
                <a:lnTo>
                  <a:pt x="189" y="1659"/>
                </a:lnTo>
                <a:lnTo>
                  <a:pt x="188" y="1664"/>
                </a:lnTo>
                <a:lnTo>
                  <a:pt x="186" y="1670"/>
                </a:lnTo>
                <a:lnTo>
                  <a:pt x="182" y="1674"/>
                </a:lnTo>
                <a:lnTo>
                  <a:pt x="177" y="1679"/>
                </a:lnTo>
                <a:lnTo>
                  <a:pt x="170" y="1682"/>
                </a:lnTo>
                <a:lnTo>
                  <a:pt x="162" y="1684"/>
                </a:lnTo>
                <a:lnTo>
                  <a:pt x="151" y="1685"/>
                </a:lnTo>
                <a:lnTo>
                  <a:pt x="151" y="1685"/>
                </a:lnTo>
                <a:close/>
                <a:moveTo>
                  <a:pt x="298" y="1778"/>
                </a:moveTo>
                <a:lnTo>
                  <a:pt x="298" y="1651"/>
                </a:lnTo>
                <a:lnTo>
                  <a:pt x="353" y="1651"/>
                </a:lnTo>
                <a:lnTo>
                  <a:pt x="353" y="1774"/>
                </a:lnTo>
                <a:lnTo>
                  <a:pt x="353" y="1774"/>
                </a:lnTo>
                <a:lnTo>
                  <a:pt x="353" y="1787"/>
                </a:lnTo>
                <a:lnTo>
                  <a:pt x="356" y="1799"/>
                </a:lnTo>
                <a:lnTo>
                  <a:pt x="359" y="1808"/>
                </a:lnTo>
                <a:lnTo>
                  <a:pt x="363" y="1815"/>
                </a:lnTo>
                <a:lnTo>
                  <a:pt x="369" y="1821"/>
                </a:lnTo>
                <a:lnTo>
                  <a:pt x="376" y="1825"/>
                </a:lnTo>
                <a:lnTo>
                  <a:pt x="385" y="1828"/>
                </a:lnTo>
                <a:lnTo>
                  <a:pt x="395" y="1829"/>
                </a:lnTo>
                <a:lnTo>
                  <a:pt x="395" y="1829"/>
                </a:lnTo>
                <a:lnTo>
                  <a:pt x="405" y="1828"/>
                </a:lnTo>
                <a:lnTo>
                  <a:pt x="412" y="1825"/>
                </a:lnTo>
                <a:lnTo>
                  <a:pt x="420" y="1821"/>
                </a:lnTo>
                <a:lnTo>
                  <a:pt x="426" y="1815"/>
                </a:lnTo>
                <a:lnTo>
                  <a:pt x="430" y="1808"/>
                </a:lnTo>
                <a:lnTo>
                  <a:pt x="433" y="1798"/>
                </a:lnTo>
                <a:lnTo>
                  <a:pt x="436" y="1787"/>
                </a:lnTo>
                <a:lnTo>
                  <a:pt x="436" y="1774"/>
                </a:lnTo>
                <a:lnTo>
                  <a:pt x="436" y="1651"/>
                </a:lnTo>
                <a:lnTo>
                  <a:pt x="491" y="1651"/>
                </a:lnTo>
                <a:lnTo>
                  <a:pt x="491" y="1874"/>
                </a:lnTo>
                <a:lnTo>
                  <a:pt x="436" y="1874"/>
                </a:lnTo>
                <a:lnTo>
                  <a:pt x="436" y="1857"/>
                </a:lnTo>
                <a:lnTo>
                  <a:pt x="436" y="1857"/>
                </a:lnTo>
                <a:lnTo>
                  <a:pt x="431" y="1862"/>
                </a:lnTo>
                <a:lnTo>
                  <a:pt x="425" y="1867"/>
                </a:lnTo>
                <a:lnTo>
                  <a:pt x="419" y="1871"/>
                </a:lnTo>
                <a:lnTo>
                  <a:pt x="412" y="1873"/>
                </a:lnTo>
                <a:lnTo>
                  <a:pt x="406" y="1877"/>
                </a:lnTo>
                <a:lnTo>
                  <a:pt x="398" y="1878"/>
                </a:lnTo>
                <a:lnTo>
                  <a:pt x="390" y="1879"/>
                </a:lnTo>
                <a:lnTo>
                  <a:pt x="382" y="1880"/>
                </a:lnTo>
                <a:lnTo>
                  <a:pt x="382" y="1880"/>
                </a:lnTo>
                <a:lnTo>
                  <a:pt x="369" y="1879"/>
                </a:lnTo>
                <a:lnTo>
                  <a:pt x="358" y="1877"/>
                </a:lnTo>
                <a:lnTo>
                  <a:pt x="348" y="1873"/>
                </a:lnTo>
                <a:lnTo>
                  <a:pt x="338" y="1869"/>
                </a:lnTo>
                <a:lnTo>
                  <a:pt x="330" y="1863"/>
                </a:lnTo>
                <a:lnTo>
                  <a:pt x="323" y="1858"/>
                </a:lnTo>
                <a:lnTo>
                  <a:pt x="318" y="1850"/>
                </a:lnTo>
                <a:lnTo>
                  <a:pt x="312" y="1842"/>
                </a:lnTo>
                <a:lnTo>
                  <a:pt x="309" y="1834"/>
                </a:lnTo>
                <a:lnTo>
                  <a:pt x="306" y="1827"/>
                </a:lnTo>
                <a:lnTo>
                  <a:pt x="301" y="1809"/>
                </a:lnTo>
                <a:lnTo>
                  <a:pt x="299" y="1792"/>
                </a:lnTo>
                <a:lnTo>
                  <a:pt x="298" y="1778"/>
                </a:lnTo>
                <a:lnTo>
                  <a:pt x="298" y="1778"/>
                </a:lnTo>
                <a:close/>
                <a:moveTo>
                  <a:pt x="1143" y="1874"/>
                </a:moveTo>
                <a:lnTo>
                  <a:pt x="1087" y="1874"/>
                </a:lnTo>
                <a:lnTo>
                  <a:pt x="1087" y="1651"/>
                </a:lnTo>
                <a:lnTo>
                  <a:pt x="1143" y="1651"/>
                </a:lnTo>
                <a:lnTo>
                  <a:pt x="1143" y="1670"/>
                </a:lnTo>
                <a:lnTo>
                  <a:pt x="1143" y="1670"/>
                </a:lnTo>
                <a:lnTo>
                  <a:pt x="1148" y="1664"/>
                </a:lnTo>
                <a:lnTo>
                  <a:pt x="1154" y="1659"/>
                </a:lnTo>
                <a:lnTo>
                  <a:pt x="1160" y="1655"/>
                </a:lnTo>
                <a:lnTo>
                  <a:pt x="1167" y="1652"/>
                </a:lnTo>
                <a:lnTo>
                  <a:pt x="1175" y="1649"/>
                </a:lnTo>
                <a:lnTo>
                  <a:pt x="1182" y="1648"/>
                </a:lnTo>
                <a:lnTo>
                  <a:pt x="1190" y="1646"/>
                </a:lnTo>
                <a:lnTo>
                  <a:pt x="1198" y="1645"/>
                </a:lnTo>
                <a:lnTo>
                  <a:pt x="1198" y="1645"/>
                </a:lnTo>
                <a:lnTo>
                  <a:pt x="1208" y="1646"/>
                </a:lnTo>
                <a:lnTo>
                  <a:pt x="1217" y="1648"/>
                </a:lnTo>
                <a:lnTo>
                  <a:pt x="1226" y="1650"/>
                </a:lnTo>
                <a:lnTo>
                  <a:pt x="1234" y="1652"/>
                </a:lnTo>
                <a:lnTo>
                  <a:pt x="1242" y="1655"/>
                </a:lnTo>
                <a:lnTo>
                  <a:pt x="1248" y="1661"/>
                </a:lnTo>
                <a:lnTo>
                  <a:pt x="1254" y="1665"/>
                </a:lnTo>
                <a:lnTo>
                  <a:pt x="1259" y="1672"/>
                </a:lnTo>
                <a:lnTo>
                  <a:pt x="1265" y="1679"/>
                </a:lnTo>
                <a:lnTo>
                  <a:pt x="1268" y="1686"/>
                </a:lnTo>
                <a:lnTo>
                  <a:pt x="1273" y="1694"/>
                </a:lnTo>
                <a:lnTo>
                  <a:pt x="1275" y="1703"/>
                </a:lnTo>
                <a:lnTo>
                  <a:pt x="1277" y="1713"/>
                </a:lnTo>
                <a:lnTo>
                  <a:pt x="1279" y="1724"/>
                </a:lnTo>
                <a:lnTo>
                  <a:pt x="1280" y="1735"/>
                </a:lnTo>
                <a:lnTo>
                  <a:pt x="1280" y="1748"/>
                </a:lnTo>
                <a:lnTo>
                  <a:pt x="1280" y="1874"/>
                </a:lnTo>
                <a:lnTo>
                  <a:pt x="1225" y="1874"/>
                </a:lnTo>
                <a:lnTo>
                  <a:pt x="1225" y="1751"/>
                </a:lnTo>
                <a:lnTo>
                  <a:pt x="1225" y="1751"/>
                </a:lnTo>
                <a:lnTo>
                  <a:pt x="1225" y="1738"/>
                </a:lnTo>
                <a:lnTo>
                  <a:pt x="1223" y="1727"/>
                </a:lnTo>
                <a:lnTo>
                  <a:pt x="1219" y="1718"/>
                </a:lnTo>
                <a:lnTo>
                  <a:pt x="1215" y="1710"/>
                </a:lnTo>
                <a:lnTo>
                  <a:pt x="1209" y="1704"/>
                </a:lnTo>
                <a:lnTo>
                  <a:pt x="1203" y="1700"/>
                </a:lnTo>
                <a:lnTo>
                  <a:pt x="1195" y="1698"/>
                </a:lnTo>
                <a:lnTo>
                  <a:pt x="1185" y="1696"/>
                </a:lnTo>
                <a:lnTo>
                  <a:pt x="1185" y="1696"/>
                </a:lnTo>
                <a:lnTo>
                  <a:pt x="1175" y="1698"/>
                </a:lnTo>
                <a:lnTo>
                  <a:pt x="1166" y="1700"/>
                </a:lnTo>
                <a:lnTo>
                  <a:pt x="1159" y="1704"/>
                </a:lnTo>
                <a:lnTo>
                  <a:pt x="1154" y="1710"/>
                </a:lnTo>
                <a:lnTo>
                  <a:pt x="1148" y="1718"/>
                </a:lnTo>
                <a:lnTo>
                  <a:pt x="1145" y="1728"/>
                </a:lnTo>
                <a:lnTo>
                  <a:pt x="1143" y="1739"/>
                </a:lnTo>
                <a:lnTo>
                  <a:pt x="1143" y="1751"/>
                </a:lnTo>
                <a:lnTo>
                  <a:pt x="1143" y="1874"/>
                </a:lnTo>
                <a:close/>
                <a:moveTo>
                  <a:pt x="597" y="1762"/>
                </a:moveTo>
                <a:lnTo>
                  <a:pt x="597" y="1874"/>
                </a:lnTo>
                <a:lnTo>
                  <a:pt x="541" y="1874"/>
                </a:lnTo>
                <a:lnTo>
                  <a:pt x="541" y="1651"/>
                </a:lnTo>
                <a:lnTo>
                  <a:pt x="597" y="1651"/>
                </a:lnTo>
                <a:lnTo>
                  <a:pt x="597" y="1762"/>
                </a:lnTo>
                <a:close/>
                <a:moveTo>
                  <a:pt x="646" y="1585"/>
                </a:moveTo>
                <a:lnTo>
                  <a:pt x="701" y="1558"/>
                </a:lnTo>
                <a:lnTo>
                  <a:pt x="701" y="1760"/>
                </a:lnTo>
                <a:lnTo>
                  <a:pt x="701" y="1874"/>
                </a:lnTo>
                <a:lnTo>
                  <a:pt x="646" y="1874"/>
                </a:lnTo>
                <a:lnTo>
                  <a:pt x="646" y="1585"/>
                </a:lnTo>
                <a:close/>
                <a:moveTo>
                  <a:pt x="877" y="1666"/>
                </a:moveTo>
                <a:lnTo>
                  <a:pt x="877" y="1666"/>
                </a:lnTo>
                <a:lnTo>
                  <a:pt x="873" y="1661"/>
                </a:lnTo>
                <a:lnTo>
                  <a:pt x="867" y="1658"/>
                </a:lnTo>
                <a:lnTo>
                  <a:pt x="860" y="1653"/>
                </a:lnTo>
                <a:lnTo>
                  <a:pt x="855" y="1651"/>
                </a:lnTo>
                <a:lnTo>
                  <a:pt x="848" y="1649"/>
                </a:lnTo>
                <a:lnTo>
                  <a:pt x="841" y="1646"/>
                </a:lnTo>
                <a:lnTo>
                  <a:pt x="828" y="1645"/>
                </a:lnTo>
                <a:lnTo>
                  <a:pt x="828" y="1645"/>
                </a:lnTo>
                <a:lnTo>
                  <a:pt x="818" y="1646"/>
                </a:lnTo>
                <a:lnTo>
                  <a:pt x="808" y="1648"/>
                </a:lnTo>
                <a:lnTo>
                  <a:pt x="799" y="1650"/>
                </a:lnTo>
                <a:lnTo>
                  <a:pt x="791" y="1653"/>
                </a:lnTo>
                <a:lnTo>
                  <a:pt x="784" y="1658"/>
                </a:lnTo>
                <a:lnTo>
                  <a:pt x="776" y="1663"/>
                </a:lnTo>
                <a:lnTo>
                  <a:pt x="769" y="1670"/>
                </a:lnTo>
                <a:lnTo>
                  <a:pt x="764" y="1676"/>
                </a:lnTo>
                <a:lnTo>
                  <a:pt x="758" y="1684"/>
                </a:lnTo>
                <a:lnTo>
                  <a:pt x="754" y="1693"/>
                </a:lnTo>
                <a:lnTo>
                  <a:pt x="749" y="1702"/>
                </a:lnTo>
                <a:lnTo>
                  <a:pt x="746" y="1712"/>
                </a:lnTo>
                <a:lnTo>
                  <a:pt x="744" y="1723"/>
                </a:lnTo>
                <a:lnTo>
                  <a:pt x="741" y="1735"/>
                </a:lnTo>
                <a:lnTo>
                  <a:pt x="740" y="1748"/>
                </a:lnTo>
                <a:lnTo>
                  <a:pt x="740" y="1760"/>
                </a:lnTo>
                <a:lnTo>
                  <a:pt x="740" y="1760"/>
                </a:lnTo>
                <a:lnTo>
                  <a:pt x="740" y="1774"/>
                </a:lnTo>
                <a:lnTo>
                  <a:pt x="741" y="1787"/>
                </a:lnTo>
                <a:lnTo>
                  <a:pt x="744" y="1799"/>
                </a:lnTo>
                <a:lnTo>
                  <a:pt x="746" y="1810"/>
                </a:lnTo>
                <a:lnTo>
                  <a:pt x="749" y="1821"/>
                </a:lnTo>
                <a:lnTo>
                  <a:pt x="752" y="1831"/>
                </a:lnTo>
                <a:lnTo>
                  <a:pt x="757" y="1840"/>
                </a:lnTo>
                <a:lnTo>
                  <a:pt x="762" y="1848"/>
                </a:lnTo>
                <a:lnTo>
                  <a:pt x="769" y="1856"/>
                </a:lnTo>
                <a:lnTo>
                  <a:pt x="775" y="1861"/>
                </a:lnTo>
                <a:lnTo>
                  <a:pt x="783" y="1867"/>
                </a:lnTo>
                <a:lnTo>
                  <a:pt x="790" y="1871"/>
                </a:lnTo>
                <a:lnTo>
                  <a:pt x="798" y="1874"/>
                </a:lnTo>
                <a:lnTo>
                  <a:pt x="807" y="1878"/>
                </a:lnTo>
                <a:lnTo>
                  <a:pt x="817" y="1879"/>
                </a:lnTo>
                <a:lnTo>
                  <a:pt x="827" y="1880"/>
                </a:lnTo>
                <a:lnTo>
                  <a:pt x="827" y="1880"/>
                </a:lnTo>
                <a:lnTo>
                  <a:pt x="834" y="1879"/>
                </a:lnTo>
                <a:lnTo>
                  <a:pt x="840" y="1878"/>
                </a:lnTo>
                <a:lnTo>
                  <a:pt x="847" y="1877"/>
                </a:lnTo>
                <a:lnTo>
                  <a:pt x="854" y="1874"/>
                </a:lnTo>
                <a:lnTo>
                  <a:pt x="859" y="1871"/>
                </a:lnTo>
                <a:lnTo>
                  <a:pt x="866" y="1868"/>
                </a:lnTo>
                <a:lnTo>
                  <a:pt x="871" y="1863"/>
                </a:lnTo>
                <a:lnTo>
                  <a:pt x="877" y="1858"/>
                </a:lnTo>
                <a:lnTo>
                  <a:pt x="877" y="1874"/>
                </a:lnTo>
                <a:lnTo>
                  <a:pt x="933" y="1874"/>
                </a:lnTo>
                <a:lnTo>
                  <a:pt x="933" y="1558"/>
                </a:lnTo>
                <a:lnTo>
                  <a:pt x="877" y="1585"/>
                </a:lnTo>
                <a:lnTo>
                  <a:pt x="877" y="1666"/>
                </a:lnTo>
                <a:close/>
                <a:moveTo>
                  <a:pt x="838" y="1829"/>
                </a:moveTo>
                <a:lnTo>
                  <a:pt x="838" y="1829"/>
                </a:lnTo>
                <a:lnTo>
                  <a:pt x="831" y="1828"/>
                </a:lnTo>
                <a:lnTo>
                  <a:pt x="824" y="1825"/>
                </a:lnTo>
                <a:lnTo>
                  <a:pt x="817" y="1822"/>
                </a:lnTo>
                <a:lnTo>
                  <a:pt x="810" y="1815"/>
                </a:lnTo>
                <a:lnTo>
                  <a:pt x="805" y="1807"/>
                </a:lnTo>
                <a:lnTo>
                  <a:pt x="800" y="1794"/>
                </a:lnTo>
                <a:lnTo>
                  <a:pt x="797" y="1779"/>
                </a:lnTo>
                <a:lnTo>
                  <a:pt x="796" y="1759"/>
                </a:lnTo>
                <a:lnTo>
                  <a:pt x="796" y="1759"/>
                </a:lnTo>
                <a:lnTo>
                  <a:pt x="797" y="1741"/>
                </a:lnTo>
                <a:lnTo>
                  <a:pt x="800" y="1728"/>
                </a:lnTo>
                <a:lnTo>
                  <a:pt x="805" y="1717"/>
                </a:lnTo>
                <a:lnTo>
                  <a:pt x="810" y="1709"/>
                </a:lnTo>
                <a:lnTo>
                  <a:pt x="816" y="1702"/>
                </a:lnTo>
                <a:lnTo>
                  <a:pt x="824" y="1699"/>
                </a:lnTo>
                <a:lnTo>
                  <a:pt x="830" y="1696"/>
                </a:lnTo>
                <a:lnTo>
                  <a:pt x="838" y="1696"/>
                </a:lnTo>
                <a:lnTo>
                  <a:pt x="838" y="1696"/>
                </a:lnTo>
                <a:lnTo>
                  <a:pt x="845" y="1696"/>
                </a:lnTo>
                <a:lnTo>
                  <a:pt x="851" y="1699"/>
                </a:lnTo>
                <a:lnTo>
                  <a:pt x="858" y="1701"/>
                </a:lnTo>
                <a:lnTo>
                  <a:pt x="863" y="1704"/>
                </a:lnTo>
                <a:lnTo>
                  <a:pt x="867" y="1708"/>
                </a:lnTo>
                <a:lnTo>
                  <a:pt x="871" y="1711"/>
                </a:lnTo>
                <a:lnTo>
                  <a:pt x="877" y="1719"/>
                </a:lnTo>
                <a:lnTo>
                  <a:pt x="877" y="1807"/>
                </a:lnTo>
                <a:lnTo>
                  <a:pt x="877" y="1807"/>
                </a:lnTo>
                <a:lnTo>
                  <a:pt x="870" y="1814"/>
                </a:lnTo>
                <a:lnTo>
                  <a:pt x="863" y="1821"/>
                </a:lnTo>
                <a:lnTo>
                  <a:pt x="858" y="1824"/>
                </a:lnTo>
                <a:lnTo>
                  <a:pt x="851" y="1827"/>
                </a:lnTo>
                <a:lnTo>
                  <a:pt x="846" y="1828"/>
                </a:lnTo>
                <a:lnTo>
                  <a:pt x="838" y="1829"/>
                </a:lnTo>
                <a:lnTo>
                  <a:pt x="838" y="1829"/>
                </a:lnTo>
                <a:close/>
                <a:moveTo>
                  <a:pt x="2084" y="1645"/>
                </a:moveTo>
                <a:lnTo>
                  <a:pt x="2084" y="1645"/>
                </a:lnTo>
                <a:lnTo>
                  <a:pt x="2079" y="1646"/>
                </a:lnTo>
                <a:lnTo>
                  <a:pt x="2072" y="1648"/>
                </a:lnTo>
                <a:lnTo>
                  <a:pt x="2059" y="1651"/>
                </a:lnTo>
                <a:lnTo>
                  <a:pt x="2046" y="1658"/>
                </a:lnTo>
                <a:lnTo>
                  <a:pt x="2035" y="1666"/>
                </a:lnTo>
                <a:lnTo>
                  <a:pt x="2035" y="1563"/>
                </a:lnTo>
                <a:lnTo>
                  <a:pt x="1980" y="1591"/>
                </a:lnTo>
                <a:lnTo>
                  <a:pt x="1980" y="1874"/>
                </a:lnTo>
                <a:lnTo>
                  <a:pt x="2035" y="1874"/>
                </a:lnTo>
                <a:lnTo>
                  <a:pt x="2035" y="1858"/>
                </a:lnTo>
                <a:lnTo>
                  <a:pt x="2035" y="1858"/>
                </a:lnTo>
                <a:lnTo>
                  <a:pt x="2040" y="1863"/>
                </a:lnTo>
                <a:lnTo>
                  <a:pt x="2046" y="1868"/>
                </a:lnTo>
                <a:lnTo>
                  <a:pt x="2052" y="1871"/>
                </a:lnTo>
                <a:lnTo>
                  <a:pt x="2059" y="1874"/>
                </a:lnTo>
                <a:lnTo>
                  <a:pt x="2064" y="1877"/>
                </a:lnTo>
                <a:lnTo>
                  <a:pt x="2072" y="1878"/>
                </a:lnTo>
                <a:lnTo>
                  <a:pt x="2079" y="1879"/>
                </a:lnTo>
                <a:lnTo>
                  <a:pt x="2085" y="1880"/>
                </a:lnTo>
                <a:lnTo>
                  <a:pt x="2085" y="1880"/>
                </a:lnTo>
                <a:lnTo>
                  <a:pt x="2095" y="1879"/>
                </a:lnTo>
                <a:lnTo>
                  <a:pt x="2105" y="1878"/>
                </a:lnTo>
                <a:lnTo>
                  <a:pt x="2114" y="1876"/>
                </a:lnTo>
                <a:lnTo>
                  <a:pt x="2123" y="1871"/>
                </a:lnTo>
                <a:lnTo>
                  <a:pt x="2131" y="1867"/>
                </a:lnTo>
                <a:lnTo>
                  <a:pt x="2137" y="1862"/>
                </a:lnTo>
                <a:lnTo>
                  <a:pt x="2144" y="1856"/>
                </a:lnTo>
                <a:lnTo>
                  <a:pt x="2150" y="1849"/>
                </a:lnTo>
                <a:lnTo>
                  <a:pt x="2155" y="1840"/>
                </a:lnTo>
                <a:lnTo>
                  <a:pt x="2160" y="1831"/>
                </a:lnTo>
                <a:lnTo>
                  <a:pt x="2163" y="1821"/>
                </a:lnTo>
                <a:lnTo>
                  <a:pt x="2166" y="1811"/>
                </a:lnTo>
                <a:lnTo>
                  <a:pt x="2170" y="1800"/>
                </a:lnTo>
                <a:lnTo>
                  <a:pt x="2171" y="1788"/>
                </a:lnTo>
                <a:lnTo>
                  <a:pt x="2172" y="1774"/>
                </a:lnTo>
                <a:lnTo>
                  <a:pt x="2173" y="1760"/>
                </a:lnTo>
                <a:lnTo>
                  <a:pt x="2173" y="1760"/>
                </a:lnTo>
                <a:lnTo>
                  <a:pt x="2172" y="1748"/>
                </a:lnTo>
                <a:lnTo>
                  <a:pt x="2171" y="1735"/>
                </a:lnTo>
                <a:lnTo>
                  <a:pt x="2169" y="1723"/>
                </a:lnTo>
                <a:lnTo>
                  <a:pt x="2166" y="1712"/>
                </a:lnTo>
                <a:lnTo>
                  <a:pt x="2163" y="1702"/>
                </a:lnTo>
                <a:lnTo>
                  <a:pt x="2159" y="1693"/>
                </a:lnTo>
                <a:lnTo>
                  <a:pt x="2154" y="1684"/>
                </a:lnTo>
                <a:lnTo>
                  <a:pt x="2149" y="1676"/>
                </a:lnTo>
                <a:lnTo>
                  <a:pt x="2143" y="1670"/>
                </a:lnTo>
                <a:lnTo>
                  <a:pt x="2136" y="1663"/>
                </a:lnTo>
                <a:lnTo>
                  <a:pt x="2129" y="1658"/>
                </a:lnTo>
                <a:lnTo>
                  <a:pt x="2121" y="1653"/>
                </a:lnTo>
                <a:lnTo>
                  <a:pt x="2113" y="1650"/>
                </a:lnTo>
                <a:lnTo>
                  <a:pt x="2104" y="1648"/>
                </a:lnTo>
                <a:lnTo>
                  <a:pt x="2094" y="1646"/>
                </a:lnTo>
                <a:lnTo>
                  <a:pt x="2084" y="1645"/>
                </a:lnTo>
                <a:lnTo>
                  <a:pt x="2084" y="1645"/>
                </a:lnTo>
                <a:close/>
                <a:moveTo>
                  <a:pt x="2074" y="1696"/>
                </a:moveTo>
                <a:lnTo>
                  <a:pt x="2074" y="1696"/>
                </a:lnTo>
                <a:lnTo>
                  <a:pt x="2082" y="1698"/>
                </a:lnTo>
                <a:lnTo>
                  <a:pt x="2090" y="1700"/>
                </a:lnTo>
                <a:lnTo>
                  <a:pt x="2096" y="1704"/>
                </a:lnTo>
                <a:lnTo>
                  <a:pt x="2103" y="1711"/>
                </a:lnTo>
                <a:lnTo>
                  <a:pt x="2109" y="1719"/>
                </a:lnTo>
                <a:lnTo>
                  <a:pt x="2112" y="1730"/>
                </a:lnTo>
                <a:lnTo>
                  <a:pt x="2115" y="1743"/>
                </a:lnTo>
                <a:lnTo>
                  <a:pt x="2116" y="1759"/>
                </a:lnTo>
                <a:lnTo>
                  <a:pt x="2116" y="1759"/>
                </a:lnTo>
                <a:lnTo>
                  <a:pt x="2115" y="1775"/>
                </a:lnTo>
                <a:lnTo>
                  <a:pt x="2113" y="1790"/>
                </a:lnTo>
                <a:lnTo>
                  <a:pt x="2111" y="1801"/>
                </a:lnTo>
                <a:lnTo>
                  <a:pt x="2106" y="1811"/>
                </a:lnTo>
                <a:lnTo>
                  <a:pt x="2100" y="1819"/>
                </a:lnTo>
                <a:lnTo>
                  <a:pt x="2093" y="1824"/>
                </a:lnTo>
                <a:lnTo>
                  <a:pt x="2085" y="1828"/>
                </a:lnTo>
                <a:lnTo>
                  <a:pt x="2075" y="1829"/>
                </a:lnTo>
                <a:lnTo>
                  <a:pt x="2075" y="1829"/>
                </a:lnTo>
                <a:lnTo>
                  <a:pt x="2067" y="1828"/>
                </a:lnTo>
                <a:lnTo>
                  <a:pt x="2061" y="1827"/>
                </a:lnTo>
                <a:lnTo>
                  <a:pt x="2055" y="1823"/>
                </a:lnTo>
                <a:lnTo>
                  <a:pt x="2050" y="1821"/>
                </a:lnTo>
                <a:lnTo>
                  <a:pt x="2041" y="1813"/>
                </a:lnTo>
                <a:lnTo>
                  <a:pt x="2035" y="1808"/>
                </a:lnTo>
                <a:lnTo>
                  <a:pt x="2035" y="1719"/>
                </a:lnTo>
                <a:lnTo>
                  <a:pt x="2035" y="1719"/>
                </a:lnTo>
                <a:lnTo>
                  <a:pt x="2039" y="1714"/>
                </a:lnTo>
                <a:lnTo>
                  <a:pt x="2043" y="1710"/>
                </a:lnTo>
                <a:lnTo>
                  <a:pt x="2047" y="1705"/>
                </a:lnTo>
                <a:lnTo>
                  <a:pt x="2052" y="1702"/>
                </a:lnTo>
                <a:lnTo>
                  <a:pt x="2057" y="1700"/>
                </a:lnTo>
                <a:lnTo>
                  <a:pt x="2063" y="1698"/>
                </a:lnTo>
                <a:lnTo>
                  <a:pt x="2069" y="1696"/>
                </a:lnTo>
                <a:lnTo>
                  <a:pt x="2074" y="1696"/>
                </a:lnTo>
                <a:lnTo>
                  <a:pt x="2074" y="1696"/>
                </a:lnTo>
                <a:close/>
                <a:moveTo>
                  <a:pt x="1455" y="1666"/>
                </a:moveTo>
                <a:lnTo>
                  <a:pt x="1455" y="1666"/>
                </a:lnTo>
                <a:lnTo>
                  <a:pt x="1451" y="1662"/>
                </a:lnTo>
                <a:lnTo>
                  <a:pt x="1445" y="1658"/>
                </a:lnTo>
                <a:lnTo>
                  <a:pt x="1438" y="1654"/>
                </a:lnTo>
                <a:lnTo>
                  <a:pt x="1433" y="1651"/>
                </a:lnTo>
                <a:lnTo>
                  <a:pt x="1426" y="1649"/>
                </a:lnTo>
                <a:lnTo>
                  <a:pt x="1419" y="1646"/>
                </a:lnTo>
                <a:lnTo>
                  <a:pt x="1413" y="1646"/>
                </a:lnTo>
                <a:lnTo>
                  <a:pt x="1406" y="1645"/>
                </a:lnTo>
                <a:lnTo>
                  <a:pt x="1406" y="1645"/>
                </a:lnTo>
                <a:lnTo>
                  <a:pt x="1396" y="1646"/>
                </a:lnTo>
                <a:lnTo>
                  <a:pt x="1386" y="1648"/>
                </a:lnTo>
                <a:lnTo>
                  <a:pt x="1377" y="1650"/>
                </a:lnTo>
                <a:lnTo>
                  <a:pt x="1369" y="1653"/>
                </a:lnTo>
                <a:lnTo>
                  <a:pt x="1362" y="1658"/>
                </a:lnTo>
                <a:lnTo>
                  <a:pt x="1354" y="1663"/>
                </a:lnTo>
                <a:lnTo>
                  <a:pt x="1347" y="1670"/>
                </a:lnTo>
                <a:lnTo>
                  <a:pt x="1342" y="1676"/>
                </a:lnTo>
                <a:lnTo>
                  <a:pt x="1336" y="1684"/>
                </a:lnTo>
                <a:lnTo>
                  <a:pt x="1332" y="1693"/>
                </a:lnTo>
                <a:lnTo>
                  <a:pt x="1327" y="1702"/>
                </a:lnTo>
                <a:lnTo>
                  <a:pt x="1324" y="1712"/>
                </a:lnTo>
                <a:lnTo>
                  <a:pt x="1322" y="1723"/>
                </a:lnTo>
                <a:lnTo>
                  <a:pt x="1319" y="1735"/>
                </a:lnTo>
                <a:lnTo>
                  <a:pt x="1318" y="1748"/>
                </a:lnTo>
                <a:lnTo>
                  <a:pt x="1318" y="1760"/>
                </a:lnTo>
                <a:lnTo>
                  <a:pt x="1318" y="1760"/>
                </a:lnTo>
                <a:lnTo>
                  <a:pt x="1318" y="1774"/>
                </a:lnTo>
                <a:lnTo>
                  <a:pt x="1319" y="1787"/>
                </a:lnTo>
                <a:lnTo>
                  <a:pt x="1322" y="1799"/>
                </a:lnTo>
                <a:lnTo>
                  <a:pt x="1324" y="1810"/>
                </a:lnTo>
                <a:lnTo>
                  <a:pt x="1327" y="1821"/>
                </a:lnTo>
                <a:lnTo>
                  <a:pt x="1330" y="1831"/>
                </a:lnTo>
                <a:lnTo>
                  <a:pt x="1336" y="1840"/>
                </a:lnTo>
                <a:lnTo>
                  <a:pt x="1340" y="1848"/>
                </a:lnTo>
                <a:lnTo>
                  <a:pt x="1347" y="1856"/>
                </a:lnTo>
                <a:lnTo>
                  <a:pt x="1353" y="1861"/>
                </a:lnTo>
                <a:lnTo>
                  <a:pt x="1360" y="1867"/>
                </a:lnTo>
                <a:lnTo>
                  <a:pt x="1368" y="1871"/>
                </a:lnTo>
                <a:lnTo>
                  <a:pt x="1376" y="1874"/>
                </a:lnTo>
                <a:lnTo>
                  <a:pt x="1385" y="1878"/>
                </a:lnTo>
                <a:lnTo>
                  <a:pt x="1395" y="1879"/>
                </a:lnTo>
                <a:lnTo>
                  <a:pt x="1405" y="1879"/>
                </a:lnTo>
                <a:lnTo>
                  <a:pt x="1405" y="1879"/>
                </a:lnTo>
                <a:lnTo>
                  <a:pt x="1412" y="1879"/>
                </a:lnTo>
                <a:lnTo>
                  <a:pt x="1418" y="1878"/>
                </a:lnTo>
                <a:lnTo>
                  <a:pt x="1425" y="1877"/>
                </a:lnTo>
                <a:lnTo>
                  <a:pt x="1432" y="1874"/>
                </a:lnTo>
                <a:lnTo>
                  <a:pt x="1438" y="1871"/>
                </a:lnTo>
                <a:lnTo>
                  <a:pt x="1444" y="1867"/>
                </a:lnTo>
                <a:lnTo>
                  <a:pt x="1449" y="1863"/>
                </a:lnTo>
                <a:lnTo>
                  <a:pt x="1455" y="1858"/>
                </a:lnTo>
                <a:lnTo>
                  <a:pt x="1455" y="1863"/>
                </a:lnTo>
                <a:lnTo>
                  <a:pt x="1455" y="1863"/>
                </a:lnTo>
                <a:lnTo>
                  <a:pt x="1455" y="1872"/>
                </a:lnTo>
                <a:lnTo>
                  <a:pt x="1454" y="1882"/>
                </a:lnTo>
                <a:lnTo>
                  <a:pt x="1452" y="1892"/>
                </a:lnTo>
                <a:lnTo>
                  <a:pt x="1449" y="1897"/>
                </a:lnTo>
                <a:lnTo>
                  <a:pt x="1446" y="1901"/>
                </a:lnTo>
                <a:lnTo>
                  <a:pt x="1443" y="1906"/>
                </a:lnTo>
                <a:lnTo>
                  <a:pt x="1438" y="1910"/>
                </a:lnTo>
                <a:lnTo>
                  <a:pt x="1432" y="1913"/>
                </a:lnTo>
                <a:lnTo>
                  <a:pt x="1425" y="1916"/>
                </a:lnTo>
                <a:lnTo>
                  <a:pt x="1417" y="1919"/>
                </a:lnTo>
                <a:lnTo>
                  <a:pt x="1407" y="1920"/>
                </a:lnTo>
                <a:lnTo>
                  <a:pt x="1396" y="1922"/>
                </a:lnTo>
                <a:lnTo>
                  <a:pt x="1384" y="1922"/>
                </a:lnTo>
                <a:lnTo>
                  <a:pt x="1382" y="1922"/>
                </a:lnTo>
                <a:lnTo>
                  <a:pt x="1401" y="1966"/>
                </a:lnTo>
                <a:lnTo>
                  <a:pt x="1402" y="1966"/>
                </a:lnTo>
                <a:lnTo>
                  <a:pt x="1402" y="1966"/>
                </a:lnTo>
                <a:lnTo>
                  <a:pt x="1415" y="1966"/>
                </a:lnTo>
                <a:lnTo>
                  <a:pt x="1427" y="1963"/>
                </a:lnTo>
                <a:lnTo>
                  <a:pt x="1439" y="1961"/>
                </a:lnTo>
                <a:lnTo>
                  <a:pt x="1449" y="1958"/>
                </a:lnTo>
                <a:lnTo>
                  <a:pt x="1459" y="1954"/>
                </a:lnTo>
                <a:lnTo>
                  <a:pt x="1468" y="1950"/>
                </a:lnTo>
                <a:lnTo>
                  <a:pt x="1476" y="1943"/>
                </a:lnTo>
                <a:lnTo>
                  <a:pt x="1484" y="1938"/>
                </a:lnTo>
                <a:lnTo>
                  <a:pt x="1491" y="1930"/>
                </a:lnTo>
                <a:lnTo>
                  <a:pt x="1495" y="1921"/>
                </a:lnTo>
                <a:lnTo>
                  <a:pt x="1501" y="1912"/>
                </a:lnTo>
                <a:lnTo>
                  <a:pt x="1504" y="1902"/>
                </a:lnTo>
                <a:lnTo>
                  <a:pt x="1507" y="1891"/>
                </a:lnTo>
                <a:lnTo>
                  <a:pt x="1509" y="1880"/>
                </a:lnTo>
                <a:lnTo>
                  <a:pt x="1511" y="1868"/>
                </a:lnTo>
                <a:lnTo>
                  <a:pt x="1511" y="1853"/>
                </a:lnTo>
                <a:lnTo>
                  <a:pt x="1511" y="1651"/>
                </a:lnTo>
                <a:lnTo>
                  <a:pt x="1455" y="1651"/>
                </a:lnTo>
                <a:lnTo>
                  <a:pt x="1455" y="1666"/>
                </a:lnTo>
                <a:close/>
                <a:moveTo>
                  <a:pt x="1455" y="1719"/>
                </a:moveTo>
                <a:lnTo>
                  <a:pt x="1455" y="1807"/>
                </a:lnTo>
                <a:lnTo>
                  <a:pt x="1455" y="1807"/>
                </a:lnTo>
                <a:lnTo>
                  <a:pt x="1448" y="1814"/>
                </a:lnTo>
                <a:lnTo>
                  <a:pt x="1439" y="1822"/>
                </a:lnTo>
                <a:lnTo>
                  <a:pt x="1435" y="1824"/>
                </a:lnTo>
                <a:lnTo>
                  <a:pt x="1429" y="1827"/>
                </a:lnTo>
                <a:lnTo>
                  <a:pt x="1423" y="1828"/>
                </a:lnTo>
                <a:lnTo>
                  <a:pt x="1416" y="1829"/>
                </a:lnTo>
                <a:lnTo>
                  <a:pt x="1416" y="1829"/>
                </a:lnTo>
                <a:lnTo>
                  <a:pt x="1408" y="1828"/>
                </a:lnTo>
                <a:lnTo>
                  <a:pt x="1402" y="1825"/>
                </a:lnTo>
                <a:lnTo>
                  <a:pt x="1394" y="1821"/>
                </a:lnTo>
                <a:lnTo>
                  <a:pt x="1388" y="1815"/>
                </a:lnTo>
                <a:lnTo>
                  <a:pt x="1383" y="1807"/>
                </a:lnTo>
                <a:lnTo>
                  <a:pt x="1378" y="1794"/>
                </a:lnTo>
                <a:lnTo>
                  <a:pt x="1375" y="1779"/>
                </a:lnTo>
                <a:lnTo>
                  <a:pt x="1374" y="1759"/>
                </a:lnTo>
                <a:lnTo>
                  <a:pt x="1374" y="1759"/>
                </a:lnTo>
                <a:lnTo>
                  <a:pt x="1375" y="1741"/>
                </a:lnTo>
                <a:lnTo>
                  <a:pt x="1378" y="1728"/>
                </a:lnTo>
                <a:lnTo>
                  <a:pt x="1383" y="1717"/>
                </a:lnTo>
                <a:lnTo>
                  <a:pt x="1388" y="1709"/>
                </a:lnTo>
                <a:lnTo>
                  <a:pt x="1394" y="1702"/>
                </a:lnTo>
                <a:lnTo>
                  <a:pt x="1402" y="1699"/>
                </a:lnTo>
                <a:lnTo>
                  <a:pt x="1408" y="1696"/>
                </a:lnTo>
                <a:lnTo>
                  <a:pt x="1416" y="1696"/>
                </a:lnTo>
                <a:lnTo>
                  <a:pt x="1416" y="1696"/>
                </a:lnTo>
                <a:lnTo>
                  <a:pt x="1423" y="1696"/>
                </a:lnTo>
                <a:lnTo>
                  <a:pt x="1429" y="1699"/>
                </a:lnTo>
                <a:lnTo>
                  <a:pt x="1436" y="1701"/>
                </a:lnTo>
                <a:lnTo>
                  <a:pt x="1441" y="1703"/>
                </a:lnTo>
                <a:lnTo>
                  <a:pt x="1445" y="1708"/>
                </a:lnTo>
                <a:lnTo>
                  <a:pt x="1449" y="1711"/>
                </a:lnTo>
                <a:lnTo>
                  <a:pt x="1455" y="1719"/>
                </a:lnTo>
                <a:lnTo>
                  <a:pt x="1455" y="1719"/>
                </a:lnTo>
                <a:close/>
                <a:moveTo>
                  <a:pt x="1683" y="1705"/>
                </a:moveTo>
                <a:lnTo>
                  <a:pt x="1683" y="1705"/>
                </a:lnTo>
                <a:lnTo>
                  <a:pt x="1696" y="1699"/>
                </a:lnTo>
                <a:lnTo>
                  <a:pt x="1709" y="1694"/>
                </a:lnTo>
                <a:lnTo>
                  <a:pt x="1724" y="1691"/>
                </a:lnTo>
                <a:lnTo>
                  <a:pt x="1740" y="1690"/>
                </a:lnTo>
                <a:lnTo>
                  <a:pt x="1740" y="1690"/>
                </a:lnTo>
                <a:lnTo>
                  <a:pt x="1750" y="1691"/>
                </a:lnTo>
                <a:lnTo>
                  <a:pt x="1757" y="1692"/>
                </a:lnTo>
                <a:lnTo>
                  <a:pt x="1764" y="1694"/>
                </a:lnTo>
                <a:lnTo>
                  <a:pt x="1770" y="1699"/>
                </a:lnTo>
                <a:lnTo>
                  <a:pt x="1774" y="1703"/>
                </a:lnTo>
                <a:lnTo>
                  <a:pt x="1777" y="1709"/>
                </a:lnTo>
                <a:lnTo>
                  <a:pt x="1780" y="1714"/>
                </a:lnTo>
                <a:lnTo>
                  <a:pt x="1780" y="1722"/>
                </a:lnTo>
                <a:lnTo>
                  <a:pt x="1780" y="1738"/>
                </a:lnTo>
                <a:lnTo>
                  <a:pt x="1780" y="1738"/>
                </a:lnTo>
                <a:lnTo>
                  <a:pt x="1770" y="1733"/>
                </a:lnTo>
                <a:lnTo>
                  <a:pt x="1757" y="1730"/>
                </a:lnTo>
                <a:lnTo>
                  <a:pt x="1745" y="1728"/>
                </a:lnTo>
                <a:lnTo>
                  <a:pt x="1732" y="1727"/>
                </a:lnTo>
                <a:lnTo>
                  <a:pt x="1732" y="1727"/>
                </a:lnTo>
                <a:lnTo>
                  <a:pt x="1716" y="1728"/>
                </a:lnTo>
                <a:lnTo>
                  <a:pt x="1701" y="1731"/>
                </a:lnTo>
                <a:lnTo>
                  <a:pt x="1686" y="1735"/>
                </a:lnTo>
                <a:lnTo>
                  <a:pt x="1678" y="1739"/>
                </a:lnTo>
                <a:lnTo>
                  <a:pt x="1672" y="1743"/>
                </a:lnTo>
                <a:lnTo>
                  <a:pt x="1666" y="1748"/>
                </a:lnTo>
                <a:lnTo>
                  <a:pt x="1661" y="1753"/>
                </a:lnTo>
                <a:lnTo>
                  <a:pt x="1655" y="1759"/>
                </a:lnTo>
                <a:lnTo>
                  <a:pt x="1651" y="1765"/>
                </a:lnTo>
                <a:lnTo>
                  <a:pt x="1647" y="1773"/>
                </a:lnTo>
                <a:lnTo>
                  <a:pt x="1645" y="1782"/>
                </a:lnTo>
                <a:lnTo>
                  <a:pt x="1644" y="1791"/>
                </a:lnTo>
                <a:lnTo>
                  <a:pt x="1643" y="1800"/>
                </a:lnTo>
                <a:lnTo>
                  <a:pt x="1643" y="1800"/>
                </a:lnTo>
                <a:lnTo>
                  <a:pt x="1644" y="1811"/>
                </a:lnTo>
                <a:lnTo>
                  <a:pt x="1645" y="1821"/>
                </a:lnTo>
                <a:lnTo>
                  <a:pt x="1647" y="1829"/>
                </a:lnTo>
                <a:lnTo>
                  <a:pt x="1651" y="1838"/>
                </a:lnTo>
                <a:lnTo>
                  <a:pt x="1654" y="1844"/>
                </a:lnTo>
                <a:lnTo>
                  <a:pt x="1659" y="1851"/>
                </a:lnTo>
                <a:lnTo>
                  <a:pt x="1664" y="1857"/>
                </a:lnTo>
                <a:lnTo>
                  <a:pt x="1671" y="1862"/>
                </a:lnTo>
                <a:lnTo>
                  <a:pt x="1676" y="1867"/>
                </a:lnTo>
                <a:lnTo>
                  <a:pt x="1683" y="1870"/>
                </a:lnTo>
                <a:lnTo>
                  <a:pt x="1697" y="1876"/>
                </a:lnTo>
                <a:lnTo>
                  <a:pt x="1712" y="1879"/>
                </a:lnTo>
                <a:lnTo>
                  <a:pt x="1726" y="1880"/>
                </a:lnTo>
                <a:lnTo>
                  <a:pt x="1726" y="1880"/>
                </a:lnTo>
                <a:lnTo>
                  <a:pt x="1738" y="1878"/>
                </a:lnTo>
                <a:lnTo>
                  <a:pt x="1746" y="1877"/>
                </a:lnTo>
                <a:lnTo>
                  <a:pt x="1753" y="1874"/>
                </a:lnTo>
                <a:lnTo>
                  <a:pt x="1761" y="1871"/>
                </a:lnTo>
                <a:lnTo>
                  <a:pt x="1767" y="1867"/>
                </a:lnTo>
                <a:lnTo>
                  <a:pt x="1774" y="1862"/>
                </a:lnTo>
                <a:lnTo>
                  <a:pt x="1780" y="1857"/>
                </a:lnTo>
                <a:lnTo>
                  <a:pt x="1780" y="1874"/>
                </a:lnTo>
                <a:lnTo>
                  <a:pt x="1835" y="1874"/>
                </a:lnTo>
                <a:lnTo>
                  <a:pt x="1835" y="1723"/>
                </a:lnTo>
                <a:lnTo>
                  <a:pt x="1835" y="1723"/>
                </a:lnTo>
                <a:lnTo>
                  <a:pt x="1835" y="1714"/>
                </a:lnTo>
                <a:lnTo>
                  <a:pt x="1834" y="1707"/>
                </a:lnTo>
                <a:lnTo>
                  <a:pt x="1832" y="1699"/>
                </a:lnTo>
                <a:lnTo>
                  <a:pt x="1830" y="1691"/>
                </a:lnTo>
                <a:lnTo>
                  <a:pt x="1825" y="1684"/>
                </a:lnTo>
                <a:lnTo>
                  <a:pt x="1822" y="1678"/>
                </a:lnTo>
                <a:lnTo>
                  <a:pt x="1816" y="1672"/>
                </a:lnTo>
                <a:lnTo>
                  <a:pt x="1811" y="1666"/>
                </a:lnTo>
                <a:lnTo>
                  <a:pt x="1805" y="1662"/>
                </a:lnTo>
                <a:lnTo>
                  <a:pt x="1798" y="1658"/>
                </a:lnTo>
                <a:lnTo>
                  <a:pt x="1791" y="1654"/>
                </a:lnTo>
                <a:lnTo>
                  <a:pt x="1783" y="1651"/>
                </a:lnTo>
                <a:lnTo>
                  <a:pt x="1774" y="1649"/>
                </a:lnTo>
                <a:lnTo>
                  <a:pt x="1765" y="1648"/>
                </a:lnTo>
                <a:lnTo>
                  <a:pt x="1755" y="1646"/>
                </a:lnTo>
                <a:lnTo>
                  <a:pt x="1745" y="1645"/>
                </a:lnTo>
                <a:lnTo>
                  <a:pt x="1745" y="1645"/>
                </a:lnTo>
                <a:lnTo>
                  <a:pt x="1733" y="1646"/>
                </a:lnTo>
                <a:lnTo>
                  <a:pt x="1723" y="1646"/>
                </a:lnTo>
                <a:lnTo>
                  <a:pt x="1712" y="1649"/>
                </a:lnTo>
                <a:lnTo>
                  <a:pt x="1701" y="1651"/>
                </a:lnTo>
                <a:lnTo>
                  <a:pt x="1691" y="1654"/>
                </a:lnTo>
                <a:lnTo>
                  <a:pt x="1681" y="1658"/>
                </a:lnTo>
                <a:lnTo>
                  <a:pt x="1671" y="1662"/>
                </a:lnTo>
                <a:lnTo>
                  <a:pt x="1661" y="1668"/>
                </a:lnTo>
                <a:lnTo>
                  <a:pt x="1683" y="1705"/>
                </a:lnTo>
                <a:close/>
                <a:moveTo>
                  <a:pt x="1698" y="1800"/>
                </a:moveTo>
                <a:lnTo>
                  <a:pt x="1698" y="1800"/>
                </a:lnTo>
                <a:lnTo>
                  <a:pt x="1698" y="1793"/>
                </a:lnTo>
                <a:lnTo>
                  <a:pt x="1701" y="1787"/>
                </a:lnTo>
                <a:lnTo>
                  <a:pt x="1704" y="1781"/>
                </a:lnTo>
                <a:lnTo>
                  <a:pt x="1708" y="1777"/>
                </a:lnTo>
                <a:lnTo>
                  <a:pt x="1714" y="1773"/>
                </a:lnTo>
                <a:lnTo>
                  <a:pt x="1721" y="1771"/>
                </a:lnTo>
                <a:lnTo>
                  <a:pt x="1728" y="1769"/>
                </a:lnTo>
                <a:lnTo>
                  <a:pt x="1736" y="1769"/>
                </a:lnTo>
                <a:lnTo>
                  <a:pt x="1736" y="1769"/>
                </a:lnTo>
                <a:lnTo>
                  <a:pt x="1748" y="1769"/>
                </a:lnTo>
                <a:lnTo>
                  <a:pt x="1760" y="1771"/>
                </a:lnTo>
                <a:lnTo>
                  <a:pt x="1770" y="1774"/>
                </a:lnTo>
                <a:lnTo>
                  <a:pt x="1780" y="1780"/>
                </a:lnTo>
                <a:lnTo>
                  <a:pt x="1780" y="1810"/>
                </a:lnTo>
                <a:lnTo>
                  <a:pt x="1780" y="1810"/>
                </a:lnTo>
                <a:lnTo>
                  <a:pt x="1777" y="1814"/>
                </a:lnTo>
                <a:lnTo>
                  <a:pt x="1773" y="1819"/>
                </a:lnTo>
                <a:lnTo>
                  <a:pt x="1768" y="1823"/>
                </a:lnTo>
                <a:lnTo>
                  <a:pt x="1763" y="1827"/>
                </a:lnTo>
                <a:lnTo>
                  <a:pt x="1757" y="1830"/>
                </a:lnTo>
                <a:lnTo>
                  <a:pt x="1751" y="1832"/>
                </a:lnTo>
                <a:lnTo>
                  <a:pt x="1744" y="1833"/>
                </a:lnTo>
                <a:lnTo>
                  <a:pt x="1736" y="1834"/>
                </a:lnTo>
                <a:lnTo>
                  <a:pt x="1736" y="1834"/>
                </a:lnTo>
                <a:lnTo>
                  <a:pt x="1728" y="1833"/>
                </a:lnTo>
                <a:lnTo>
                  <a:pt x="1721" y="1831"/>
                </a:lnTo>
                <a:lnTo>
                  <a:pt x="1714" y="1829"/>
                </a:lnTo>
                <a:lnTo>
                  <a:pt x="1708" y="1824"/>
                </a:lnTo>
                <a:lnTo>
                  <a:pt x="1704" y="1820"/>
                </a:lnTo>
                <a:lnTo>
                  <a:pt x="1701" y="1814"/>
                </a:lnTo>
                <a:lnTo>
                  <a:pt x="1699" y="1808"/>
                </a:lnTo>
                <a:lnTo>
                  <a:pt x="1698" y="1800"/>
                </a:lnTo>
                <a:lnTo>
                  <a:pt x="1698" y="1800"/>
                </a:lnTo>
                <a:close/>
                <a:moveTo>
                  <a:pt x="2350" y="1810"/>
                </a:moveTo>
                <a:lnTo>
                  <a:pt x="2350" y="1810"/>
                </a:lnTo>
                <a:lnTo>
                  <a:pt x="2342" y="1817"/>
                </a:lnTo>
                <a:lnTo>
                  <a:pt x="2332" y="1822"/>
                </a:lnTo>
                <a:lnTo>
                  <a:pt x="2326" y="1824"/>
                </a:lnTo>
                <a:lnTo>
                  <a:pt x="2320" y="1827"/>
                </a:lnTo>
                <a:lnTo>
                  <a:pt x="2313" y="1828"/>
                </a:lnTo>
                <a:lnTo>
                  <a:pt x="2306" y="1829"/>
                </a:lnTo>
                <a:lnTo>
                  <a:pt x="2306" y="1829"/>
                </a:lnTo>
                <a:lnTo>
                  <a:pt x="2301" y="1828"/>
                </a:lnTo>
                <a:lnTo>
                  <a:pt x="2294" y="1828"/>
                </a:lnTo>
                <a:lnTo>
                  <a:pt x="2286" y="1825"/>
                </a:lnTo>
                <a:lnTo>
                  <a:pt x="2277" y="1821"/>
                </a:lnTo>
                <a:lnTo>
                  <a:pt x="2270" y="1815"/>
                </a:lnTo>
                <a:lnTo>
                  <a:pt x="2266" y="1811"/>
                </a:lnTo>
                <a:lnTo>
                  <a:pt x="2263" y="1807"/>
                </a:lnTo>
                <a:lnTo>
                  <a:pt x="2261" y="1801"/>
                </a:lnTo>
                <a:lnTo>
                  <a:pt x="2259" y="1794"/>
                </a:lnTo>
                <a:lnTo>
                  <a:pt x="2257" y="1788"/>
                </a:lnTo>
                <a:lnTo>
                  <a:pt x="2256" y="1780"/>
                </a:lnTo>
                <a:lnTo>
                  <a:pt x="2393" y="1780"/>
                </a:lnTo>
                <a:lnTo>
                  <a:pt x="2393" y="1780"/>
                </a:lnTo>
                <a:lnTo>
                  <a:pt x="2394" y="1763"/>
                </a:lnTo>
                <a:lnTo>
                  <a:pt x="2394" y="1763"/>
                </a:lnTo>
                <a:lnTo>
                  <a:pt x="2394" y="1750"/>
                </a:lnTo>
                <a:lnTo>
                  <a:pt x="2392" y="1738"/>
                </a:lnTo>
                <a:lnTo>
                  <a:pt x="2391" y="1725"/>
                </a:lnTo>
                <a:lnTo>
                  <a:pt x="2388" y="1714"/>
                </a:lnTo>
                <a:lnTo>
                  <a:pt x="2384" y="1704"/>
                </a:lnTo>
                <a:lnTo>
                  <a:pt x="2380" y="1694"/>
                </a:lnTo>
                <a:lnTo>
                  <a:pt x="2374" y="1685"/>
                </a:lnTo>
                <a:lnTo>
                  <a:pt x="2369" y="1678"/>
                </a:lnTo>
                <a:lnTo>
                  <a:pt x="2362" y="1670"/>
                </a:lnTo>
                <a:lnTo>
                  <a:pt x="2355" y="1664"/>
                </a:lnTo>
                <a:lnTo>
                  <a:pt x="2348" y="1659"/>
                </a:lnTo>
                <a:lnTo>
                  <a:pt x="2339" y="1654"/>
                </a:lnTo>
                <a:lnTo>
                  <a:pt x="2330" y="1651"/>
                </a:lnTo>
                <a:lnTo>
                  <a:pt x="2321" y="1648"/>
                </a:lnTo>
                <a:lnTo>
                  <a:pt x="2311" y="1646"/>
                </a:lnTo>
                <a:lnTo>
                  <a:pt x="2300" y="1645"/>
                </a:lnTo>
                <a:lnTo>
                  <a:pt x="2300" y="1645"/>
                </a:lnTo>
                <a:lnTo>
                  <a:pt x="2290" y="1646"/>
                </a:lnTo>
                <a:lnTo>
                  <a:pt x="2280" y="1648"/>
                </a:lnTo>
                <a:lnTo>
                  <a:pt x="2270" y="1651"/>
                </a:lnTo>
                <a:lnTo>
                  <a:pt x="2260" y="1654"/>
                </a:lnTo>
                <a:lnTo>
                  <a:pt x="2251" y="1659"/>
                </a:lnTo>
                <a:lnTo>
                  <a:pt x="2243" y="1665"/>
                </a:lnTo>
                <a:lnTo>
                  <a:pt x="2235" y="1671"/>
                </a:lnTo>
                <a:lnTo>
                  <a:pt x="2229" y="1679"/>
                </a:lnTo>
                <a:lnTo>
                  <a:pt x="2222" y="1686"/>
                </a:lnTo>
                <a:lnTo>
                  <a:pt x="2216" y="1695"/>
                </a:lnTo>
                <a:lnTo>
                  <a:pt x="2212" y="1705"/>
                </a:lnTo>
                <a:lnTo>
                  <a:pt x="2207" y="1715"/>
                </a:lnTo>
                <a:lnTo>
                  <a:pt x="2204" y="1727"/>
                </a:lnTo>
                <a:lnTo>
                  <a:pt x="2202" y="1739"/>
                </a:lnTo>
                <a:lnTo>
                  <a:pt x="2201" y="1750"/>
                </a:lnTo>
                <a:lnTo>
                  <a:pt x="2200" y="1763"/>
                </a:lnTo>
                <a:lnTo>
                  <a:pt x="2200" y="1763"/>
                </a:lnTo>
                <a:lnTo>
                  <a:pt x="2201" y="1775"/>
                </a:lnTo>
                <a:lnTo>
                  <a:pt x="2202" y="1788"/>
                </a:lnTo>
                <a:lnTo>
                  <a:pt x="2204" y="1800"/>
                </a:lnTo>
                <a:lnTo>
                  <a:pt x="2207" y="1811"/>
                </a:lnTo>
                <a:lnTo>
                  <a:pt x="2212" y="1821"/>
                </a:lnTo>
                <a:lnTo>
                  <a:pt x="2216" y="1831"/>
                </a:lnTo>
                <a:lnTo>
                  <a:pt x="2222" y="1840"/>
                </a:lnTo>
                <a:lnTo>
                  <a:pt x="2229" y="1848"/>
                </a:lnTo>
                <a:lnTo>
                  <a:pt x="2236" y="1854"/>
                </a:lnTo>
                <a:lnTo>
                  <a:pt x="2244" y="1861"/>
                </a:lnTo>
                <a:lnTo>
                  <a:pt x="2253" y="1867"/>
                </a:lnTo>
                <a:lnTo>
                  <a:pt x="2262" y="1871"/>
                </a:lnTo>
                <a:lnTo>
                  <a:pt x="2272" y="1874"/>
                </a:lnTo>
                <a:lnTo>
                  <a:pt x="2283" y="1878"/>
                </a:lnTo>
                <a:lnTo>
                  <a:pt x="2294" y="1879"/>
                </a:lnTo>
                <a:lnTo>
                  <a:pt x="2306" y="1880"/>
                </a:lnTo>
                <a:lnTo>
                  <a:pt x="2306" y="1880"/>
                </a:lnTo>
                <a:lnTo>
                  <a:pt x="2317" y="1879"/>
                </a:lnTo>
                <a:lnTo>
                  <a:pt x="2327" y="1878"/>
                </a:lnTo>
                <a:lnTo>
                  <a:pt x="2339" y="1874"/>
                </a:lnTo>
                <a:lnTo>
                  <a:pt x="2349" y="1871"/>
                </a:lnTo>
                <a:lnTo>
                  <a:pt x="2359" y="1866"/>
                </a:lnTo>
                <a:lnTo>
                  <a:pt x="2368" y="1860"/>
                </a:lnTo>
                <a:lnTo>
                  <a:pt x="2376" y="1852"/>
                </a:lnTo>
                <a:lnTo>
                  <a:pt x="2385" y="1844"/>
                </a:lnTo>
                <a:lnTo>
                  <a:pt x="2350" y="1810"/>
                </a:lnTo>
                <a:close/>
                <a:moveTo>
                  <a:pt x="2257" y="1739"/>
                </a:moveTo>
                <a:lnTo>
                  <a:pt x="2257" y="1739"/>
                </a:lnTo>
                <a:lnTo>
                  <a:pt x="2259" y="1729"/>
                </a:lnTo>
                <a:lnTo>
                  <a:pt x="2261" y="1720"/>
                </a:lnTo>
                <a:lnTo>
                  <a:pt x="2264" y="1712"/>
                </a:lnTo>
                <a:lnTo>
                  <a:pt x="2270" y="1705"/>
                </a:lnTo>
                <a:lnTo>
                  <a:pt x="2275" y="1700"/>
                </a:lnTo>
                <a:lnTo>
                  <a:pt x="2282" y="1696"/>
                </a:lnTo>
                <a:lnTo>
                  <a:pt x="2290" y="1693"/>
                </a:lnTo>
                <a:lnTo>
                  <a:pt x="2299" y="1693"/>
                </a:lnTo>
                <a:lnTo>
                  <a:pt x="2299" y="1693"/>
                </a:lnTo>
                <a:lnTo>
                  <a:pt x="2309" y="1694"/>
                </a:lnTo>
                <a:lnTo>
                  <a:pt x="2317" y="1696"/>
                </a:lnTo>
                <a:lnTo>
                  <a:pt x="2324" y="1701"/>
                </a:lnTo>
                <a:lnTo>
                  <a:pt x="2330" y="1708"/>
                </a:lnTo>
                <a:lnTo>
                  <a:pt x="2334" y="1714"/>
                </a:lnTo>
                <a:lnTo>
                  <a:pt x="2338" y="1722"/>
                </a:lnTo>
                <a:lnTo>
                  <a:pt x="2340" y="1731"/>
                </a:lnTo>
                <a:lnTo>
                  <a:pt x="2341" y="1739"/>
                </a:lnTo>
                <a:lnTo>
                  <a:pt x="2257" y="1739"/>
                </a:lnTo>
                <a:close/>
                <a:moveTo>
                  <a:pt x="2884" y="1810"/>
                </a:moveTo>
                <a:lnTo>
                  <a:pt x="2884" y="1810"/>
                </a:lnTo>
                <a:lnTo>
                  <a:pt x="2875" y="1817"/>
                </a:lnTo>
                <a:lnTo>
                  <a:pt x="2867" y="1822"/>
                </a:lnTo>
                <a:lnTo>
                  <a:pt x="2860" y="1824"/>
                </a:lnTo>
                <a:lnTo>
                  <a:pt x="2854" y="1827"/>
                </a:lnTo>
                <a:lnTo>
                  <a:pt x="2848" y="1828"/>
                </a:lnTo>
                <a:lnTo>
                  <a:pt x="2840" y="1829"/>
                </a:lnTo>
                <a:lnTo>
                  <a:pt x="2840" y="1829"/>
                </a:lnTo>
                <a:lnTo>
                  <a:pt x="2834" y="1828"/>
                </a:lnTo>
                <a:lnTo>
                  <a:pt x="2828" y="1828"/>
                </a:lnTo>
                <a:lnTo>
                  <a:pt x="2820" y="1825"/>
                </a:lnTo>
                <a:lnTo>
                  <a:pt x="2812" y="1821"/>
                </a:lnTo>
                <a:lnTo>
                  <a:pt x="2804" y="1815"/>
                </a:lnTo>
                <a:lnTo>
                  <a:pt x="2801" y="1811"/>
                </a:lnTo>
                <a:lnTo>
                  <a:pt x="2798" y="1807"/>
                </a:lnTo>
                <a:lnTo>
                  <a:pt x="2795" y="1801"/>
                </a:lnTo>
                <a:lnTo>
                  <a:pt x="2793" y="1794"/>
                </a:lnTo>
                <a:lnTo>
                  <a:pt x="2791" y="1788"/>
                </a:lnTo>
                <a:lnTo>
                  <a:pt x="2790" y="1780"/>
                </a:lnTo>
                <a:lnTo>
                  <a:pt x="2928" y="1780"/>
                </a:lnTo>
                <a:lnTo>
                  <a:pt x="2928" y="1780"/>
                </a:lnTo>
                <a:lnTo>
                  <a:pt x="2929" y="1763"/>
                </a:lnTo>
                <a:lnTo>
                  <a:pt x="2929" y="1763"/>
                </a:lnTo>
                <a:lnTo>
                  <a:pt x="2928" y="1750"/>
                </a:lnTo>
                <a:lnTo>
                  <a:pt x="2927" y="1738"/>
                </a:lnTo>
                <a:lnTo>
                  <a:pt x="2924" y="1725"/>
                </a:lnTo>
                <a:lnTo>
                  <a:pt x="2922" y="1714"/>
                </a:lnTo>
                <a:lnTo>
                  <a:pt x="2918" y="1704"/>
                </a:lnTo>
                <a:lnTo>
                  <a:pt x="2913" y="1694"/>
                </a:lnTo>
                <a:lnTo>
                  <a:pt x="2909" y="1685"/>
                </a:lnTo>
                <a:lnTo>
                  <a:pt x="2903" y="1678"/>
                </a:lnTo>
                <a:lnTo>
                  <a:pt x="2897" y="1670"/>
                </a:lnTo>
                <a:lnTo>
                  <a:pt x="2889" y="1664"/>
                </a:lnTo>
                <a:lnTo>
                  <a:pt x="2881" y="1659"/>
                </a:lnTo>
                <a:lnTo>
                  <a:pt x="2873" y="1654"/>
                </a:lnTo>
                <a:lnTo>
                  <a:pt x="2864" y="1651"/>
                </a:lnTo>
                <a:lnTo>
                  <a:pt x="2854" y="1648"/>
                </a:lnTo>
                <a:lnTo>
                  <a:pt x="2844" y="1646"/>
                </a:lnTo>
                <a:lnTo>
                  <a:pt x="2834" y="1645"/>
                </a:lnTo>
                <a:lnTo>
                  <a:pt x="2834" y="1645"/>
                </a:lnTo>
                <a:lnTo>
                  <a:pt x="2823" y="1646"/>
                </a:lnTo>
                <a:lnTo>
                  <a:pt x="2813" y="1648"/>
                </a:lnTo>
                <a:lnTo>
                  <a:pt x="2803" y="1651"/>
                </a:lnTo>
                <a:lnTo>
                  <a:pt x="2794" y="1654"/>
                </a:lnTo>
                <a:lnTo>
                  <a:pt x="2785" y="1659"/>
                </a:lnTo>
                <a:lnTo>
                  <a:pt x="2777" y="1665"/>
                </a:lnTo>
                <a:lnTo>
                  <a:pt x="2770" y="1671"/>
                </a:lnTo>
                <a:lnTo>
                  <a:pt x="2762" y="1679"/>
                </a:lnTo>
                <a:lnTo>
                  <a:pt x="2755" y="1686"/>
                </a:lnTo>
                <a:lnTo>
                  <a:pt x="2750" y="1695"/>
                </a:lnTo>
                <a:lnTo>
                  <a:pt x="2745" y="1705"/>
                </a:lnTo>
                <a:lnTo>
                  <a:pt x="2741" y="1715"/>
                </a:lnTo>
                <a:lnTo>
                  <a:pt x="2739" y="1727"/>
                </a:lnTo>
                <a:lnTo>
                  <a:pt x="2735" y="1739"/>
                </a:lnTo>
                <a:lnTo>
                  <a:pt x="2734" y="1750"/>
                </a:lnTo>
                <a:lnTo>
                  <a:pt x="2734" y="1763"/>
                </a:lnTo>
                <a:lnTo>
                  <a:pt x="2734" y="1763"/>
                </a:lnTo>
                <a:lnTo>
                  <a:pt x="2734" y="1775"/>
                </a:lnTo>
                <a:lnTo>
                  <a:pt x="2735" y="1788"/>
                </a:lnTo>
                <a:lnTo>
                  <a:pt x="2738" y="1800"/>
                </a:lnTo>
                <a:lnTo>
                  <a:pt x="2741" y="1811"/>
                </a:lnTo>
                <a:lnTo>
                  <a:pt x="2745" y="1821"/>
                </a:lnTo>
                <a:lnTo>
                  <a:pt x="2751" y="1831"/>
                </a:lnTo>
                <a:lnTo>
                  <a:pt x="2757" y="1840"/>
                </a:lnTo>
                <a:lnTo>
                  <a:pt x="2763" y="1848"/>
                </a:lnTo>
                <a:lnTo>
                  <a:pt x="2770" y="1854"/>
                </a:lnTo>
                <a:lnTo>
                  <a:pt x="2778" y="1861"/>
                </a:lnTo>
                <a:lnTo>
                  <a:pt x="2787" y="1867"/>
                </a:lnTo>
                <a:lnTo>
                  <a:pt x="2797" y="1871"/>
                </a:lnTo>
                <a:lnTo>
                  <a:pt x="2807" y="1874"/>
                </a:lnTo>
                <a:lnTo>
                  <a:pt x="2817" y="1878"/>
                </a:lnTo>
                <a:lnTo>
                  <a:pt x="2829" y="1879"/>
                </a:lnTo>
                <a:lnTo>
                  <a:pt x="2840" y="1880"/>
                </a:lnTo>
                <a:lnTo>
                  <a:pt x="2840" y="1880"/>
                </a:lnTo>
                <a:lnTo>
                  <a:pt x="2851" y="1879"/>
                </a:lnTo>
                <a:lnTo>
                  <a:pt x="2862" y="1878"/>
                </a:lnTo>
                <a:lnTo>
                  <a:pt x="2872" y="1874"/>
                </a:lnTo>
                <a:lnTo>
                  <a:pt x="2882" y="1871"/>
                </a:lnTo>
                <a:lnTo>
                  <a:pt x="2892" y="1866"/>
                </a:lnTo>
                <a:lnTo>
                  <a:pt x="2902" y="1860"/>
                </a:lnTo>
                <a:lnTo>
                  <a:pt x="2911" y="1852"/>
                </a:lnTo>
                <a:lnTo>
                  <a:pt x="2919" y="1844"/>
                </a:lnTo>
                <a:lnTo>
                  <a:pt x="2884" y="1810"/>
                </a:lnTo>
                <a:close/>
                <a:moveTo>
                  <a:pt x="2791" y="1739"/>
                </a:moveTo>
                <a:lnTo>
                  <a:pt x="2791" y="1739"/>
                </a:lnTo>
                <a:lnTo>
                  <a:pt x="2792" y="1729"/>
                </a:lnTo>
                <a:lnTo>
                  <a:pt x="2795" y="1720"/>
                </a:lnTo>
                <a:lnTo>
                  <a:pt x="2799" y="1712"/>
                </a:lnTo>
                <a:lnTo>
                  <a:pt x="2803" y="1705"/>
                </a:lnTo>
                <a:lnTo>
                  <a:pt x="2810" y="1700"/>
                </a:lnTo>
                <a:lnTo>
                  <a:pt x="2817" y="1696"/>
                </a:lnTo>
                <a:lnTo>
                  <a:pt x="2824" y="1693"/>
                </a:lnTo>
                <a:lnTo>
                  <a:pt x="2833" y="1693"/>
                </a:lnTo>
                <a:lnTo>
                  <a:pt x="2833" y="1693"/>
                </a:lnTo>
                <a:lnTo>
                  <a:pt x="2843" y="1694"/>
                </a:lnTo>
                <a:lnTo>
                  <a:pt x="2851" y="1696"/>
                </a:lnTo>
                <a:lnTo>
                  <a:pt x="2859" y="1701"/>
                </a:lnTo>
                <a:lnTo>
                  <a:pt x="2864" y="1708"/>
                </a:lnTo>
                <a:lnTo>
                  <a:pt x="2869" y="1714"/>
                </a:lnTo>
                <a:lnTo>
                  <a:pt x="2872" y="1722"/>
                </a:lnTo>
                <a:lnTo>
                  <a:pt x="2874" y="1731"/>
                </a:lnTo>
                <a:lnTo>
                  <a:pt x="2875" y="1739"/>
                </a:lnTo>
                <a:lnTo>
                  <a:pt x="2791" y="1739"/>
                </a:lnTo>
                <a:close/>
                <a:moveTo>
                  <a:pt x="2658" y="1797"/>
                </a:moveTo>
                <a:lnTo>
                  <a:pt x="2658" y="1797"/>
                </a:lnTo>
                <a:lnTo>
                  <a:pt x="2658" y="1804"/>
                </a:lnTo>
                <a:lnTo>
                  <a:pt x="2659" y="1810"/>
                </a:lnTo>
                <a:lnTo>
                  <a:pt x="2661" y="1815"/>
                </a:lnTo>
                <a:lnTo>
                  <a:pt x="2663" y="1820"/>
                </a:lnTo>
                <a:lnTo>
                  <a:pt x="2667" y="1823"/>
                </a:lnTo>
                <a:lnTo>
                  <a:pt x="2671" y="1825"/>
                </a:lnTo>
                <a:lnTo>
                  <a:pt x="2675" y="1827"/>
                </a:lnTo>
                <a:lnTo>
                  <a:pt x="2682" y="1827"/>
                </a:lnTo>
                <a:lnTo>
                  <a:pt x="2682" y="1827"/>
                </a:lnTo>
                <a:lnTo>
                  <a:pt x="2690" y="1827"/>
                </a:lnTo>
                <a:lnTo>
                  <a:pt x="2699" y="1824"/>
                </a:lnTo>
                <a:lnTo>
                  <a:pt x="2708" y="1821"/>
                </a:lnTo>
                <a:lnTo>
                  <a:pt x="2715" y="1817"/>
                </a:lnTo>
                <a:lnTo>
                  <a:pt x="2709" y="1869"/>
                </a:lnTo>
                <a:lnTo>
                  <a:pt x="2709" y="1869"/>
                </a:lnTo>
                <a:lnTo>
                  <a:pt x="2699" y="1873"/>
                </a:lnTo>
                <a:lnTo>
                  <a:pt x="2687" y="1877"/>
                </a:lnTo>
                <a:lnTo>
                  <a:pt x="2674" y="1879"/>
                </a:lnTo>
                <a:lnTo>
                  <a:pt x="2662" y="1880"/>
                </a:lnTo>
                <a:lnTo>
                  <a:pt x="2662" y="1880"/>
                </a:lnTo>
                <a:lnTo>
                  <a:pt x="2654" y="1879"/>
                </a:lnTo>
                <a:lnTo>
                  <a:pt x="2647" y="1878"/>
                </a:lnTo>
                <a:lnTo>
                  <a:pt x="2640" y="1876"/>
                </a:lnTo>
                <a:lnTo>
                  <a:pt x="2634" y="1873"/>
                </a:lnTo>
                <a:lnTo>
                  <a:pt x="2629" y="1870"/>
                </a:lnTo>
                <a:lnTo>
                  <a:pt x="2623" y="1867"/>
                </a:lnTo>
                <a:lnTo>
                  <a:pt x="2620" y="1862"/>
                </a:lnTo>
                <a:lnTo>
                  <a:pt x="2615" y="1857"/>
                </a:lnTo>
                <a:lnTo>
                  <a:pt x="2610" y="1847"/>
                </a:lnTo>
                <a:lnTo>
                  <a:pt x="2605" y="1834"/>
                </a:lnTo>
                <a:lnTo>
                  <a:pt x="2603" y="1823"/>
                </a:lnTo>
                <a:lnTo>
                  <a:pt x="2602" y="1811"/>
                </a:lnTo>
                <a:lnTo>
                  <a:pt x="2602" y="1702"/>
                </a:lnTo>
                <a:lnTo>
                  <a:pt x="2568" y="1702"/>
                </a:lnTo>
                <a:lnTo>
                  <a:pt x="2568" y="1651"/>
                </a:lnTo>
                <a:lnTo>
                  <a:pt x="2602" y="1651"/>
                </a:lnTo>
                <a:lnTo>
                  <a:pt x="2602" y="1593"/>
                </a:lnTo>
                <a:lnTo>
                  <a:pt x="2658" y="1565"/>
                </a:lnTo>
                <a:lnTo>
                  <a:pt x="2658" y="1651"/>
                </a:lnTo>
                <a:lnTo>
                  <a:pt x="2708" y="1651"/>
                </a:lnTo>
                <a:lnTo>
                  <a:pt x="2708" y="1702"/>
                </a:lnTo>
                <a:lnTo>
                  <a:pt x="2658" y="1702"/>
                </a:lnTo>
                <a:lnTo>
                  <a:pt x="2658" y="1797"/>
                </a:lnTo>
                <a:close/>
                <a:moveTo>
                  <a:pt x="2550" y="1869"/>
                </a:moveTo>
                <a:lnTo>
                  <a:pt x="2550" y="1869"/>
                </a:lnTo>
                <a:lnTo>
                  <a:pt x="2540" y="1873"/>
                </a:lnTo>
                <a:lnTo>
                  <a:pt x="2529" y="1877"/>
                </a:lnTo>
                <a:lnTo>
                  <a:pt x="2516" y="1879"/>
                </a:lnTo>
                <a:lnTo>
                  <a:pt x="2504" y="1880"/>
                </a:lnTo>
                <a:lnTo>
                  <a:pt x="2504" y="1880"/>
                </a:lnTo>
                <a:lnTo>
                  <a:pt x="2495" y="1879"/>
                </a:lnTo>
                <a:lnTo>
                  <a:pt x="2489" y="1878"/>
                </a:lnTo>
                <a:lnTo>
                  <a:pt x="2482" y="1876"/>
                </a:lnTo>
                <a:lnTo>
                  <a:pt x="2475" y="1873"/>
                </a:lnTo>
                <a:lnTo>
                  <a:pt x="2471" y="1870"/>
                </a:lnTo>
                <a:lnTo>
                  <a:pt x="2465" y="1867"/>
                </a:lnTo>
                <a:lnTo>
                  <a:pt x="2461" y="1862"/>
                </a:lnTo>
                <a:lnTo>
                  <a:pt x="2458" y="1857"/>
                </a:lnTo>
                <a:lnTo>
                  <a:pt x="2451" y="1847"/>
                </a:lnTo>
                <a:lnTo>
                  <a:pt x="2448" y="1834"/>
                </a:lnTo>
                <a:lnTo>
                  <a:pt x="2444" y="1823"/>
                </a:lnTo>
                <a:lnTo>
                  <a:pt x="2444" y="1811"/>
                </a:lnTo>
                <a:lnTo>
                  <a:pt x="2444" y="1702"/>
                </a:lnTo>
                <a:lnTo>
                  <a:pt x="2410" y="1702"/>
                </a:lnTo>
                <a:lnTo>
                  <a:pt x="2410" y="1651"/>
                </a:lnTo>
                <a:lnTo>
                  <a:pt x="2444" y="1651"/>
                </a:lnTo>
                <a:lnTo>
                  <a:pt x="2444" y="1593"/>
                </a:lnTo>
                <a:lnTo>
                  <a:pt x="2500" y="1565"/>
                </a:lnTo>
                <a:lnTo>
                  <a:pt x="2500" y="1651"/>
                </a:lnTo>
                <a:lnTo>
                  <a:pt x="2546" y="1651"/>
                </a:lnTo>
                <a:lnTo>
                  <a:pt x="2546" y="1702"/>
                </a:lnTo>
                <a:lnTo>
                  <a:pt x="2500" y="1702"/>
                </a:lnTo>
                <a:lnTo>
                  <a:pt x="2500" y="1797"/>
                </a:lnTo>
                <a:lnTo>
                  <a:pt x="2500" y="1797"/>
                </a:lnTo>
                <a:lnTo>
                  <a:pt x="2500" y="1804"/>
                </a:lnTo>
                <a:lnTo>
                  <a:pt x="2501" y="1810"/>
                </a:lnTo>
                <a:lnTo>
                  <a:pt x="2503" y="1815"/>
                </a:lnTo>
                <a:lnTo>
                  <a:pt x="2505" y="1820"/>
                </a:lnTo>
                <a:lnTo>
                  <a:pt x="2509" y="1823"/>
                </a:lnTo>
                <a:lnTo>
                  <a:pt x="2513" y="1825"/>
                </a:lnTo>
                <a:lnTo>
                  <a:pt x="2518" y="1827"/>
                </a:lnTo>
                <a:lnTo>
                  <a:pt x="2523" y="1827"/>
                </a:lnTo>
                <a:lnTo>
                  <a:pt x="2523" y="1827"/>
                </a:lnTo>
                <a:lnTo>
                  <a:pt x="2532" y="1827"/>
                </a:lnTo>
                <a:lnTo>
                  <a:pt x="2541" y="1824"/>
                </a:lnTo>
                <a:lnTo>
                  <a:pt x="2549" y="1821"/>
                </a:lnTo>
                <a:lnTo>
                  <a:pt x="2556" y="1817"/>
                </a:lnTo>
                <a:lnTo>
                  <a:pt x="2550" y="1869"/>
                </a:lnTo>
                <a:close/>
                <a:moveTo>
                  <a:pt x="3096" y="1713"/>
                </a:moveTo>
                <a:lnTo>
                  <a:pt x="3096" y="1713"/>
                </a:lnTo>
                <a:lnTo>
                  <a:pt x="3088" y="1708"/>
                </a:lnTo>
                <a:lnTo>
                  <a:pt x="3079" y="1704"/>
                </a:lnTo>
                <a:lnTo>
                  <a:pt x="3069" y="1702"/>
                </a:lnTo>
                <a:lnTo>
                  <a:pt x="3059" y="1701"/>
                </a:lnTo>
                <a:lnTo>
                  <a:pt x="3059" y="1701"/>
                </a:lnTo>
                <a:lnTo>
                  <a:pt x="3050" y="1702"/>
                </a:lnTo>
                <a:lnTo>
                  <a:pt x="3041" y="1704"/>
                </a:lnTo>
                <a:lnTo>
                  <a:pt x="3034" y="1709"/>
                </a:lnTo>
                <a:lnTo>
                  <a:pt x="3029" y="1714"/>
                </a:lnTo>
                <a:lnTo>
                  <a:pt x="3024" y="1721"/>
                </a:lnTo>
                <a:lnTo>
                  <a:pt x="3022" y="1730"/>
                </a:lnTo>
                <a:lnTo>
                  <a:pt x="3020" y="1741"/>
                </a:lnTo>
                <a:lnTo>
                  <a:pt x="3019" y="1753"/>
                </a:lnTo>
                <a:lnTo>
                  <a:pt x="3019" y="1874"/>
                </a:lnTo>
                <a:lnTo>
                  <a:pt x="2964" y="1874"/>
                </a:lnTo>
                <a:lnTo>
                  <a:pt x="2964" y="1651"/>
                </a:lnTo>
                <a:lnTo>
                  <a:pt x="3019" y="1651"/>
                </a:lnTo>
                <a:lnTo>
                  <a:pt x="3019" y="1670"/>
                </a:lnTo>
                <a:lnTo>
                  <a:pt x="3019" y="1670"/>
                </a:lnTo>
                <a:lnTo>
                  <a:pt x="3024" y="1664"/>
                </a:lnTo>
                <a:lnTo>
                  <a:pt x="3030" y="1659"/>
                </a:lnTo>
                <a:lnTo>
                  <a:pt x="3036" y="1655"/>
                </a:lnTo>
                <a:lnTo>
                  <a:pt x="3042" y="1652"/>
                </a:lnTo>
                <a:lnTo>
                  <a:pt x="3048" y="1649"/>
                </a:lnTo>
                <a:lnTo>
                  <a:pt x="3054" y="1648"/>
                </a:lnTo>
                <a:lnTo>
                  <a:pt x="3061" y="1646"/>
                </a:lnTo>
                <a:lnTo>
                  <a:pt x="3069" y="1645"/>
                </a:lnTo>
                <a:lnTo>
                  <a:pt x="3069" y="1645"/>
                </a:lnTo>
                <a:lnTo>
                  <a:pt x="3080" y="1646"/>
                </a:lnTo>
                <a:lnTo>
                  <a:pt x="3091" y="1650"/>
                </a:lnTo>
                <a:lnTo>
                  <a:pt x="3101" y="1653"/>
                </a:lnTo>
                <a:lnTo>
                  <a:pt x="3110" y="1659"/>
                </a:lnTo>
                <a:lnTo>
                  <a:pt x="3096" y="1713"/>
                </a:lnTo>
                <a:close/>
                <a:moveTo>
                  <a:pt x="597" y="1598"/>
                </a:moveTo>
                <a:lnTo>
                  <a:pt x="597" y="1619"/>
                </a:lnTo>
                <a:lnTo>
                  <a:pt x="541" y="1619"/>
                </a:lnTo>
                <a:lnTo>
                  <a:pt x="541" y="1563"/>
                </a:lnTo>
                <a:lnTo>
                  <a:pt x="597" y="1563"/>
                </a:lnTo>
                <a:lnTo>
                  <a:pt x="597" y="1598"/>
                </a:lnTo>
                <a:close/>
                <a:moveTo>
                  <a:pt x="981" y="1651"/>
                </a:moveTo>
                <a:lnTo>
                  <a:pt x="1037" y="1651"/>
                </a:lnTo>
                <a:lnTo>
                  <a:pt x="1037" y="1765"/>
                </a:lnTo>
                <a:lnTo>
                  <a:pt x="1037" y="1874"/>
                </a:lnTo>
                <a:lnTo>
                  <a:pt x="981" y="1874"/>
                </a:lnTo>
                <a:lnTo>
                  <a:pt x="981" y="1651"/>
                </a:lnTo>
                <a:close/>
                <a:moveTo>
                  <a:pt x="1037" y="1591"/>
                </a:moveTo>
                <a:lnTo>
                  <a:pt x="1037" y="1619"/>
                </a:lnTo>
                <a:lnTo>
                  <a:pt x="981" y="1619"/>
                </a:lnTo>
                <a:lnTo>
                  <a:pt x="981" y="1563"/>
                </a:lnTo>
                <a:lnTo>
                  <a:pt x="1037" y="1563"/>
                </a:lnTo>
                <a:lnTo>
                  <a:pt x="1037" y="1591"/>
                </a:lnTo>
                <a:close/>
                <a:moveTo>
                  <a:pt x="2558" y="2058"/>
                </a:moveTo>
                <a:lnTo>
                  <a:pt x="2558" y="2058"/>
                </a:lnTo>
                <a:lnTo>
                  <a:pt x="2552" y="2053"/>
                </a:lnTo>
                <a:lnTo>
                  <a:pt x="2546" y="2049"/>
                </a:lnTo>
                <a:lnTo>
                  <a:pt x="2541" y="2046"/>
                </a:lnTo>
                <a:lnTo>
                  <a:pt x="2534" y="2042"/>
                </a:lnTo>
                <a:lnTo>
                  <a:pt x="2529" y="2040"/>
                </a:lnTo>
                <a:lnTo>
                  <a:pt x="2522" y="2039"/>
                </a:lnTo>
                <a:lnTo>
                  <a:pt x="2508" y="2037"/>
                </a:lnTo>
                <a:lnTo>
                  <a:pt x="2508" y="2037"/>
                </a:lnTo>
                <a:lnTo>
                  <a:pt x="2498" y="2038"/>
                </a:lnTo>
                <a:lnTo>
                  <a:pt x="2489" y="2039"/>
                </a:lnTo>
                <a:lnTo>
                  <a:pt x="2480" y="2042"/>
                </a:lnTo>
                <a:lnTo>
                  <a:pt x="2471" y="2046"/>
                </a:lnTo>
                <a:lnTo>
                  <a:pt x="2463" y="2050"/>
                </a:lnTo>
                <a:lnTo>
                  <a:pt x="2456" y="2055"/>
                </a:lnTo>
                <a:lnTo>
                  <a:pt x="2450" y="2061"/>
                </a:lnTo>
                <a:lnTo>
                  <a:pt x="2443" y="2068"/>
                </a:lnTo>
                <a:lnTo>
                  <a:pt x="2439" y="2076"/>
                </a:lnTo>
                <a:lnTo>
                  <a:pt x="2433" y="2085"/>
                </a:lnTo>
                <a:lnTo>
                  <a:pt x="2430" y="2093"/>
                </a:lnTo>
                <a:lnTo>
                  <a:pt x="2426" y="2105"/>
                </a:lnTo>
                <a:lnTo>
                  <a:pt x="2423" y="2115"/>
                </a:lnTo>
                <a:lnTo>
                  <a:pt x="2422" y="2127"/>
                </a:lnTo>
                <a:lnTo>
                  <a:pt x="2421" y="2139"/>
                </a:lnTo>
                <a:lnTo>
                  <a:pt x="2420" y="2152"/>
                </a:lnTo>
                <a:lnTo>
                  <a:pt x="2420" y="2152"/>
                </a:lnTo>
                <a:lnTo>
                  <a:pt x="2421" y="2166"/>
                </a:lnTo>
                <a:lnTo>
                  <a:pt x="2422" y="2178"/>
                </a:lnTo>
                <a:lnTo>
                  <a:pt x="2423" y="2190"/>
                </a:lnTo>
                <a:lnTo>
                  <a:pt x="2426" y="2202"/>
                </a:lnTo>
                <a:lnTo>
                  <a:pt x="2429" y="2212"/>
                </a:lnTo>
                <a:lnTo>
                  <a:pt x="2433" y="2222"/>
                </a:lnTo>
                <a:lnTo>
                  <a:pt x="2438" y="2231"/>
                </a:lnTo>
                <a:lnTo>
                  <a:pt x="2443" y="2239"/>
                </a:lnTo>
                <a:lnTo>
                  <a:pt x="2449" y="2247"/>
                </a:lnTo>
                <a:lnTo>
                  <a:pt x="2455" y="2252"/>
                </a:lnTo>
                <a:lnTo>
                  <a:pt x="2462" y="2258"/>
                </a:lnTo>
                <a:lnTo>
                  <a:pt x="2470" y="2262"/>
                </a:lnTo>
                <a:lnTo>
                  <a:pt x="2479" y="2267"/>
                </a:lnTo>
                <a:lnTo>
                  <a:pt x="2488" y="2269"/>
                </a:lnTo>
                <a:lnTo>
                  <a:pt x="2496" y="2270"/>
                </a:lnTo>
                <a:lnTo>
                  <a:pt x="2506" y="2271"/>
                </a:lnTo>
                <a:lnTo>
                  <a:pt x="2506" y="2271"/>
                </a:lnTo>
                <a:lnTo>
                  <a:pt x="2513" y="2270"/>
                </a:lnTo>
                <a:lnTo>
                  <a:pt x="2521" y="2269"/>
                </a:lnTo>
                <a:lnTo>
                  <a:pt x="2528" y="2268"/>
                </a:lnTo>
                <a:lnTo>
                  <a:pt x="2533" y="2266"/>
                </a:lnTo>
                <a:lnTo>
                  <a:pt x="2540" y="2262"/>
                </a:lnTo>
                <a:lnTo>
                  <a:pt x="2546" y="2259"/>
                </a:lnTo>
                <a:lnTo>
                  <a:pt x="2552" y="2255"/>
                </a:lnTo>
                <a:lnTo>
                  <a:pt x="2558" y="2249"/>
                </a:lnTo>
                <a:lnTo>
                  <a:pt x="2558" y="2266"/>
                </a:lnTo>
                <a:lnTo>
                  <a:pt x="2613" y="2266"/>
                </a:lnTo>
                <a:lnTo>
                  <a:pt x="2613" y="1949"/>
                </a:lnTo>
                <a:lnTo>
                  <a:pt x="2558" y="1977"/>
                </a:lnTo>
                <a:lnTo>
                  <a:pt x="2558" y="2058"/>
                </a:lnTo>
                <a:close/>
                <a:moveTo>
                  <a:pt x="2519" y="2220"/>
                </a:moveTo>
                <a:lnTo>
                  <a:pt x="2519" y="2220"/>
                </a:lnTo>
                <a:lnTo>
                  <a:pt x="2511" y="2219"/>
                </a:lnTo>
                <a:lnTo>
                  <a:pt x="2504" y="2217"/>
                </a:lnTo>
                <a:lnTo>
                  <a:pt x="2496" y="2214"/>
                </a:lnTo>
                <a:lnTo>
                  <a:pt x="2490" y="2207"/>
                </a:lnTo>
                <a:lnTo>
                  <a:pt x="2484" y="2198"/>
                </a:lnTo>
                <a:lnTo>
                  <a:pt x="2480" y="2186"/>
                </a:lnTo>
                <a:lnTo>
                  <a:pt x="2478" y="2170"/>
                </a:lnTo>
                <a:lnTo>
                  <a:pt x="2476" y="2150"/>
                </a:lnTo>
                <a:lnTo>
                  <a:pt x="2476" y="2150"/>
                </a:lnTo>
                <a:lnTo>
                  <a:pt x="2478" y="2133"/>
                </a:lnTo>
                <a:lnTo>
                  <a:pt x="2480" y="2119"/>
                </a:lnTo>
                <a:lnTo>
                  <a:pt x="2484" y="2108"/>
                </a:lnTo>
                <a:lnTo>
                  <a:pt x="2490" y="2100"/>
                </a:lnTo>
                <a:lnTo>
                  <a:pt x="2496" y="2095"/>
                </a:lnTo>
                <a:lnTo>
                  <a:pt x="2503" y="2090"/>
                </a:lnTo>
                <a:lnTo>
                  <a:pt x="2511" y="2089"/>
                </a:lnTo>
                <a:lnTo>
                  <a:pt x="2518" y="2088"/>
                </a:lnTo>
                <a:lnTo>
                  <a:pt x="2518" y="2088"/>
                </a:lnTo>
                <a:lnTo>
                  <a:pt x="2525" y="2089"/>
                </a:lnTo>
                <a:lnTo>
                  <a:pt x="2532" y="2090"/>
                </a:lnTo>
                <a:lnTo>
                  <a:pt x="2538" y="2092"/>
                </a:lnTo>
                <a:lnTo>
                  <a:pt x="2543" y="2096"/>
                </a:lnTo>
                <a:lnTo>
                  <a:pt x="2548" y="2099"/>
                </a:lnTo>
                <a:lnTo>
                  <a:pt x="2552" y="2102"/>
                </a:lnTo>
                <a:lnTo>
                  <a:pt x="2558" y="2110"/>
                </a:lnTo>
                <a:lnTo>
                  <a:pt x="2558" y="2198"/>
                </a:lnTo>
                <a:lnTo>
                  <a:pt x="2558" y="2198"/>
                </a:lnTo>
                <a:lnTo>
                  <a:pt x="2551" y="2206"/>
                </a:lnTo>
                <a:lnTo>
                  <a:pt x="2543" y="2212"/>
                </a:lnTo>
                <a:lnTo>
                  <a:pt x="2538" y="2216"/>
                </a:lnTo>
                <a:lnTo>
                  <a:pt x="2532" y="2218"/>
                </a:lnTo>
                <a:lnTo>
                  <a:pt x="2525" y="2219"/>
                </a:lnTo>
                <a:lnTo>
                  <a:pt x="2519" y="2220"/>
                </a:lnTo>
                <a:lnTo>
                  <a:pt x="2519" y="2220"/>
                </a:lnTo>
                <a:close/>
                <a:moveTo>
                  <a:pt x="677" y="2105"/>
                </a:moveTo>
                <a:lnTo>
                  <a:pt x="677" y="2105"/>
                </a:lnTo>
                <a:lnTo>
                  <a:pt x="669" y="2100"/>
                </a:lnTo>
                <a:lnTo>
                  <a:pt x="660" y="2096"/>
                </a:lnTo>
                <a:lnTo>
                  <a:pt x="650" y="2093"/>
                </a:lnTo>
                <a:lnTo>
                  <a:pt x="640" y="2092"/>
                </a:lnTo>
                <a:lnTo>
                  <a:pt x="640" y="2092"/>
                </a:lnTo>
                <a:lnTo>
                  <a:pt x="631" y="2093"/>
                </a:lnTo>
                <a:lnTo>
                  <a:pt x="622" y="2096"/>
                </a:lnTo>
                <a:lnTo>
                  <a:pt x="616" y="2100"/>
                </a:lnTo>
                <a:lnTo>
                  <a:pt x="610" y="2106"/>
                </a:lnTo>
                <a:lnTo>
                  <a:pt x="606" y="2112"/>
                </a:lnTo>
                <a:lnTo>
                  <a:pt x="604" y="2121"/>
                </a:lnTo>
                <a:lnTo>
                  <a:pt x="601" y="2132"/>
                </a:lnTo>
                <a:lnTo>
                  <a:pt x="600" y="2145"/>
                </a:lnTo>
                <a:lnTo>
                  <a:pt x="600" y="2266"/>
                </a:lnTo>
                <a:lnTo>
                  <a:pt x="546" y="2266"/>
                </a:lnTo>
                <a:lnTo>
                  <a:pt x="546" y="2042"/>
                </a:lnTo>
                <a:lnTo>
                  <a:pt x="600" y="2042"/>
                </a:lnTo>
                <a:lnTo>
                  <a:pt x="600" y="2061"/>
                </a:lnTo>
                <a:lnTo>
                  <a:pt x="600" y="2061"/>
                </a:lnTo>
                <a:lnTo>
                  <a:pt x="606" y="2056"/>
                </a:lnTo>
                <a:lnTo>
                  <a:pt x="611" y="2050"/>
                </a:lnTo>
                <a:lnTo>
                  <a:pt x="617" y="2047"/>
                </a:lnTo>
                <a:lnTo>
                  <a:pt x="624" y="2043"/>
                </a:lnTo>
                <a:lnTo>
                  <a:pt x="629" y="2040"/>
                </a:lnTo>
                <a:lnTo>
                  <a:pt x="636" y="2039"/>
                </a:lnTo>
                <a:lnTo>
                  <a:pt x="644" y="2038"/>
                </a:lnTo>
                <a:lnTo>
                  <a:pt x="650" y="2037"/>
                </a:lnTo>
                <a:lnTo>
                  <a:pt x="650" y="2037"/>
                </a:lnTo>
                <a:lnTo>
                  <a:pt x="661" y="2038"/>
                </a:lnTo>
                <a:lnTo>
                  <a:pt x="672" y="2041"/>
                </a:lnTo>
                <a:lnTo>
                  <a:pt x="684" y="2046"/>
                </a:lnTo>
                <a:lnTo>
                  <a:pt x="692" y="2051"/>
                </a:lnTo>
                <a:lnTo>
                  <a:pt x="677" y="2105"/>
                </a:lnTo>
                <a:close/>
                <a:moveTo>
                  <a:pt x="242" y="2042"/>
                </a:moveTo>
                <a:lnTo>
                  <a:pt x="297" y="2042"/>
                </a:lnTo>
                <a:lnTo>
                  <a:pt x="233" y="2266"/>
                </a:lnTo>
                <a:lnTo>
                  <a:pt x="186" y="2266"/>
                </a:lnTo>
                <a:lnTo>
                  <a:pt x="161" y="2174"/>
                </a:lnTo>
                <a:lnTo>
                  <a:pt x="161" y="2174"/>
                </a:lnTo>
                <a:lnTo>
                  <a:pt x="149" y="2125"/>
                </a:lnTo>
                <a:lnTo>
                  <a:pt x="149" y="2125"/>
                </a:lnTo>
                <a:lnTo>
                  <a:pt x="143" y="2148"/>
                </a:lnTo>
                <a:lnTo>
                  <a:pt x="137" y="2175"/>
                </a:lnTo>
                <a:lnTo>
                  <a:pt x="111" y="2266"/>
                </a:lnTo>
                <a:lnTo>
                  <a:pt x="63" y="2266"/>
                </a:lnTo>
                <a:lnTo>
                  <a:pt x="63" y="2265"/>
                </a:lnTo>
                <a:lnTo>
                  <a:pt x="0" y="2042"/>
                </a:lnTo>
                <a:lnTo>
                  <a:pt x="58" y="2042"/>
                </a:lnTo>
                <a:lnTo>
                  <a:pt x="78" y="2126"/>
                </a:lnTo>
                <a:lnTo>
                  <a:pt x="78" y="2126"/>
                </a:lnTo>
                <a:lnTo>
                  <a:pt x="83" y="2152"/>
                </a:lnTo>
                <a:lnTo>
                  <a:pt x="89" y="2180"/>
                </a:lnTo>
                <a:lnTo>
                  <a:pt x="89" y="2180"/>
                </a:lnTo>
                <a:lnTo>
                  <a:pt x="96" y="2152"/>
                </a:lnTo>
                <a:lnTo>
                  <a:pt x="102" y="2125"/>
                </a:lnTo>
                <a:lnTo>
                  <a:pt x="126" y="2042"/>
                </a:lnTo>
                <a:lnTo>
                  <a:pt x="173" y="2042"/>
                </a:lnTo>
                <a:lnTo>
                  <a:pt x="197" y="2125"/>
                </a:lnTo>
                <a:lnTo>
                  <a:pt x="197" y="2125"/>
                </a:lnTo>
                <a:lnTo>
                  <a:pt x="203" y="2151"/>
                </a:lnTo>
                <a:lnTo>
                  <a:pt x="210" y="2181"/>
                </a:lnTo>
                <a:lnTo>
                  <a:pt x="210" y="2181"/>
                </a:lnTo>
                <a:lnTo>
                  <a:pt x="215" y="2156"/>
                </a:lnTo>
                <a:lnTo>
                  <a:pt x="221" y="2125"/>
                </a:lnTo>
                <a:lnTo>
                  <a:pt x="242" y="2042"/>
                </a:lnTo>
                <a:close/>
                <a:moveTo>
                  <a:pt x="409" y="2037"/>
                </a:moveTo>
                <a:lnTo>
                  <a:pt x="409" y="2037"/>
                </a:lnTo>
                <a:lnTo>
                  <a:pt x="399" y="2038"/>
                </a:lnTo>
                <a:lnTo>
                  <a:pt x="388" y="2039"/>
                </a:lnTo>
                <a:lnTo>
                  <a:pt x="378" y="2042"/>
                </a:lnTo>
                <a:lnTo>
                  <a:pt x="369" y="2046"/>
                </a:lnTo>
                <a:lnTo>
                  <a:pt x="360" y="2050"/>
                </a:lnTo>
                <a:lnTo>
                  <a:pt x="351" y="2056"/>
                </a:lnTo>
                <a:lnTo>
                  <a:pt x="343" y="2062"/>
                </a:lnTo>
                <a:lnTo>
                  <a:pt x="337" y="2070"/>
                </a:lnTo>
                <a:lnTo>
                  <a:pt x="330" y="2078"/>
                </a:lnTo>
                <a:lnTo>
                  <a:pt x="325" y="2087"/>
                </a:lnTo>
                <a:lnTo>
                  <a:pt x="319" y="2097"/>
                </a:lnTo>
                <a:lnTo>
                  <a:pt x="316" y="2107"/>
                </a:lnTo>
                <a:lnTo>
                  <a:pt x="312" y="2118"/>
                </a:lnTo>
                <a:lnTo>
                  <a:pt x="310" y="2129"/>
                </a:lnTo>
                <a:lnTo>
                  <a:pt x="308" y="2141"/>
                </a:lnTo>
                <a:lnTo>
                  <a:pt x="308" y="2155"/>
                </a:lnTo>
                <a:lnTo>
                  <a:pt x="308" y="2155"/>
                </a:lnTo>
                <a:lnTo>
                  <a:pt x="308" y="2167"/>
                </a:lnTo>
                <a:lnTo>
                  <a:pt x="310" y="2179"/>
                </a:lnTo>
                <a:lnTo>
                  <a:pt x="312" y="2190"/>
                </a:lnTo>
                <a:lnTo>
                  <a:pt x="316" y="2201"/>
                </a:lnTo>
                <a:lnTo>
                  <a:pt x="319" y="2211"/>
                </a:lnTo>
                <a:lnTo>
                  <a:pt x="325" y="2221"/>
                </a:lnTo>
                <a:lnTo>
                  <a:pt x="330" y="2230"/>
                </a:lnTo>
                <a:lnTo>
                  <a:pt x="337" y="2238"/>
                </a:lnTo>
                <a:lnTo>
                  <a:pt x="343" y="2246"/>
                </a:lnTo>
                <a:lnTo>
                  <a:pt x="351" y="2252"/>
                </a:lnTo>
                <a:lnTo>
                  <a:pt x="360" y="2258"/>
                </a:lnTo>
                <a:lnTo>
                  <a:pt x="369" y="2262"/>
                </a:lnTo>
                <a:lnTo>
                  <a:pt x="378" y="2266"/>
                </a:lnTo>
                <a:lnTo>
                  <a:pt x="388" y="2269"/>
                </a:lnTo>
                <a:lnTo>
                  <a:pt x="399" y="2270"/>
                </a:lnTo>
                <a:lnTo>
                  <a:pt x="409" y="2271"/>
                </a:lnTo>
                <a:lnTo>
                  <a:pt x="409" y="2271"/>
                </a:lnTo>
                <a:lnTo>
                  <a:pt x="420" y="2270"/>
                </a:lnTo>
                <a:lnTo>
                  <a:pt x="431" y="2269"/>
                </a:lnTo>
                <a:lnTo>
                  <a:pt x="441" y="2266"/>
                </a:lnTo>
                <a:lnTo>
                  <a:pt x="450" y="2262"/>
                </a:lnTo>
                <a:lnTo>
                  <a:pt x="459" y="2258"/>
                </a:lnTo>
                <a:lnTo>
                  <a:pt x="468" y="2252"/>
                </a:lnTo>
                <a:lnTo>
                  <a:pt x="476" y="2246"/>
                </a:lnTo>
                <a:lnTo>
                  <a:pt x="482" y="2238"/>
                </a:lnTo>
                <a:lnTo>
                  <a:pt x="489" y="2230"/>
                </a:lnTo>
                <a:lnTo>
                  <a:pt x="495" y="2221"/>
                </a:lnTo>
                <a:lnTo>
                  <a:pt x="499" y="2211"/>
                </a:lnTo>
                <a:lnTo>
                  <a:pt x="504" y="2201"/>
                </a:lnTo>
                <a:lnTo>
                  <a:pt x="507" y="2190"/>
                </a:lnTo>
                <a:lnTo>
                  <a:pt x="509" y="2179"/>
                </a:lnTo>
                <a:lnTo>
                  <a:pt x="511" y="2167"/>
                </a:lnTo>
                <a:lnTo>
                  <a:pt x="511" y="2155"/>
                </a:lnTo>
                <a:lnTo>
                  <a:pt x="511" y="2155"/>
                </a:lnTo>
                <a:lnTo>
                  <a:pt x="511" y="2141"/>
                </a:lnTo>
                <a:lnTo>
                  <a:pt x="509" y="2129"/>
                </a:lnTo>
                <a:lnTo>
                  <a:pt x="507" y="2118"/>
                </a:lnTo>
                <a:lnTo>
                  <a:pt x="504" y="2107"/>
                </a:lnTo>
                <a:lnTo>
                  <a:pt x="499" y="2097"/>
                </a:lnTo>
                <a:lnTo>
                  <a:pt x="495" y="2087"/>
                </a:lnTo>
                <a:lnTo>
                  <a:pt x="489" y="2078"/>
                </a:lnTo>
                <a:lnTo>
                  <a:pt x="482" y="2070"/>
                </a:lnTo>
                <a:lnTo>
                  <a:pt x="476" y="2062"/>
                </a:lnTo>
                <a:lnTo>
                  <a:pt x="468" y="2056"/>
                </a:lnTo>
                <a:lnTo>
                  <a:pt x="459" y="2050"/>
                </a:lnTo>
                <a:lnTo>
                  <a:pt x="450" y="2046"/>
                </a:lnTo>
                <a:lnTo>
                  <a:pt x="441" y="2042"/>
                </a:lnTo>
                <a:lnTo>
                  <a:pt x="431" y="2039"/>
                </a:lnTo>
                <a:lnTo>
                  <a:pt x="420" y="2038"/>
                </a:lnTo>
                <a:lnTo>
                  <a:pt x="409" y="2037"/>
                </a:lnTo>
                <a:lnTo>
                  <a:pt x="409" y="2037"/>
                </a:lnTo>
                <a:close/>
                <a:moveTo>
                  <a:pt x="409" y="2219"/>
                </a:moveTo>
                <a:lnTo>
                  <a:pt x="409" y="2219"/>
                </a:lnTo>
                <a:lnTo>
                  <a:pt x="399" y="2218"/>
                </a:lnTo>
                <a:lnTo>
                  <a:pt x="390" y="2215"/>
                </a:lnTo>
                <a:lnTo>
                  <a:pt x="383" y="2209"/>
                </a:lnTo>
                <a:lnTo>
                  <a:pt x="377" y="2201"/>
                </a:lnTo>
                <a:lnTo>
                  <a:pt x="371" y="2192"/>
                </a:lnTo>
                <a:lnTo>
                  <a:pt x="367" y="2181"/>
                </a:lnTo>
                <a:lnTo>
                  <a:pt x="365" y="2168"/>
                </a:lnTo>
                <a:lnTo>
                  <a:pt x="365" y="2155"/>
                </a:lnTo>
                <a:lnTo>
                  <a:pt x="365" y="2155"/>
                </a:lnTo>
                <a:lnTo>
                  <a:pt x="365" y="2140"/>
                </a:lnTo>
                <a:lnTo>
                  <a:pt x="367" y="2127"/>
                </a:lnTo>
                <a:lnTo>
                  <a:pt x="371" y="2117"/>
                </a:lnTo>
                <a:lnTo>
                  <a:pt x="377" y="2107"/>
                </a:lnTo>
                <a:lnTo>
                  <a:pt x="383" y="2099"/>
                </a:lnTo>
                <a:lnTo>
                  <a:pt x="390" y="2093"/>
                </a:lnTo>
                <a:lnTo>
                  <a:pt x="399" y="2090"/>
                </a:lnTo>
                <a:lnTo>
                  <a:pt x="409" y="2089"/>
                </a:lnTo>
                <a:lnTo>
                  <a:pt x="409" y="2089"/>
                </a:lnTo>
                <a:lnTo>
                  <a:pt x="419" y="2090"/>
                </a:lnTo>
                <a:lnTo>
                  <a:pt x="428" y="2093"/>
                </a:lnTo>
                <a:lnTo>
                  <a:pt x="436" y="2099"/>
                </a:lnTo>
                <a:lnTo>
                  <a:pt x="442" y="2107"/>
                </a:lnTo>
                <a:lnTo>
                  <a:pt x="448" y="2117"/>
                </a:lnTo>
                <a:lnTo>
                  <a:pt x="451" y="2127"/>
                </a:lnTo>
                <a:lnTo>
                  <a:pt x="453" y="2140"/>
                </a:lnTo>
                <a:lnTo>
                  <a:pt x="455" y="2155"/>
                </a:lnTo>
                <a:lnTo>
                  <a:pt x="455" y="2155"/>
                </a:lnTo>
                <a:lnTo>
                  <a:pt x="453" y="2168"/>
                </a:lnTo>
                <a:lnTo>
                  <a:pt x="451" y="2181"/>
                </a:lnTo>
                <a:lnTo>
                  <a:pt x="448" y="2192"/>
                </a:lnTo>
                <a:lnTo>
                  <a:pt x="442" y="2201"/>
                </a:lnTo>
                <a:lnTo>
                  <a:pt x="436" y="2209"/>
                </a:lnTo>
                <a:lnTo>
                  <a:pt x="428" y="2215"/>
                </a:lnTo>
                <a:lnTo>
                  <a:pt x="419" y="2218"/>
                </a:lnTo>
                <a:lnTo>
                  <a:pt x="409" y="2219"/>
                </a:lnTo>
                <a:lnTo>
                  <a:pt x="409" y="2219"/>
                </a:lnTo>
                <a:close/>
                <a:moveTo>
                  <a:pt x="2285" y="2105"/>
                </a:moveTo>
                <a:lnTo>
                  <a:pt x="2285" y="2105"/>
                </a:lnTo>
                <a:lnTo>
                  <a:pt x="2276" y="2100"/>
                </a:lnTo>
                <a:lnTo>
                  <a:pt x="2267" y="2096"/>
                </a:lnTo>
                <a:lnTo>
                  <a:pt x="2257" y="2093"/>
                </a:lnTo>
                <a:lnTo>
                  <a:pt x="2249" y="2092"/>
                </a:lnTo>
                <a:lnTo>
                  <a:pt x="2249" y="2092"/>
                </a:lnTo>
                <a:lnTo>
                  <a:pt x="2239" y="2093"/>
                </a:lnTo>
                <a:lnTo>
                  <a:pt x="2231" y="2096"/>
                </a:lnTo>
                <a:lnTo>
                  <a:pt x="2224" y="2100"/>
                </a:lnTo>
                <a:lnTo>
                  <a:pt x="2219" y="2106"/>
                </a:lnTo>
                <a:lnTo>
                  <a:pt x="2214" y="2112"/>
                </a:lnTo>
                <a:lnTo>
                  <a:pt x="2211" y="2121"/>
                </a:lnTo>
                <a:lnTo>
                  <a:pt x="2209" y="2132"/>
                </a:lnTo>
                <a:lnTo>
                  <a:pt x="2209" y="2145"/>
                </a:lnTo>
                <a:lnTo>
                  <a:pt x="2209" y="2266"/>
                </a:lnTo>
                <a:lnTo>
                  <a:pt x="2153" y="2266"/>
                </a:lnTo>
                <a:lnTo>
                  <a:pt x="2153" y="2042"/>
                </a:lnTo>
                <a:lnTo>
                  <a:pt x="2209" y="2042"/>
                </a:lnTo>
                <a:lnTo>
                  <a:pt x="2209" y="2061"/>
                </a:lnTo>
                <a:lnTo>
                  <a:pt x="2209" y="2061"/>
                </a:lnTo>
                <a:lnTo>
                  <a:pt x="2213" y="2056"/>
                </a:lnTo>
                <a:lnTo>
                  <a:pt x="2219" y="2050"/>
                </a:lnTo>
                <a:lnTo>
                  <a:pt x="2224" y="2047"/>
                </a:lnTo>
                <a:lnTo>
                  <a:pt x="2231" y="2043"/>
                </a:lnTo>
                <a:lnTo>
                  <a:pt x="2237" y="2040"/>
                </a:lnTo>
                <a:lnTo>
                  <a:pt x="2244" y="2039"/>
                </a:lnTo>
                <a:lnTo>
                  <a:pt x="2251" y="2038"/>
                </a:lnTo>
                <a:lnTo>
                  <a:pt x="2257" y="2037"/>
                </a:lnTo>
                <a:lnTo>
                  <a:pt x="2257" y="2037"/>
                </a:lnTo>
                <a:lnTo>
                  <a:pt x="2269" y="2038"/>
                </a:lnTo>
                <a:lnTo>
                  <a:pt x="2280" y="2041"/>
                </a:lnTo>
                <a:lnTo>
                  <a:pt x="2291" y="2046"/>
                </a:lnTo>
                <a:lnTo>
                  <a:pt x="2300" y="2051"/>
                </a:lnTo>
                <a:lnTo>
                  <a:pt x="2285" y="2105"/>
                </a:lnTo>
                <a:close/>
                <a:moveTo>
                  <a:pt x="1850" y="2042"/>
                </a:moveTo>
                <a:lnTo>
                  <a:pt x="1904" y="2042"/>
                </a:lnTo>
                <a:lnTo>
                  <a:pt x="1841" y="2266"/>
                </a:lnTo>
                <a:lnTo>
                  <a:pt x="1793" y="2266"/>
                </a:lnTo>
                <a:lnTo>
                  <a:pt x="1768" y="2174"/>
                </a:lnTo>
                <a:lnTo>
                  <a:pt x="1768" y="2174"/>
                </a:lnTo>
                <a:lnTo>
                  <a:pt x="1756" y="2125"/>
                </a:lnTo>
                <a:lnTo>
                  <a:pt x="1756" y="2125"/>
                </a:lnTo>
                <a:lnTo>
                  <a:pt x="1751" y="2148"/>
                </a:lnTo>
                <a:lnTo>
                  <a:pt x="1744" y="2175"/>
                </a:lnTo>
                <a:lnTo>
                  <a:pt x="1720" y="2266"/>
                </a:lnTo>
                <a:lnTo>
                  <a:pt x="1672" y="2266"/>
                </a:lnTo>
                <a:lnTo>
                  <a:pt x="1671" y="2265"/>
                </a:lnTo>
                <a:lnTo>
                  <a:pt x="1608" y="2042"/>
                </a:lnTo>
                <a:lnTo>
                  <a:pt x="1665" y="2042"/>
                </a:lnTo>
                <a:lnTo>
                  <a:pt x="1686" y="2126"/>
                </a:lnTo>
                <a:lnTo>
                  <a:pt x="1686" y="2126"/>
                </a:lnTo>
                <a:lnTo>
                  <a:pt x="1692" y="2152"/>
                </a:lnTo>
                <a:lnTo>
                  <a:pt x="1697" y="2180"/>
                </a:lnTo>
                <a:lnTo>
                  <a:pt x="1697" y="2180"/>
                </a:lnTo>
                <a:lnTo>
                  <a:pt x="1703" y="2152"/>
                </a:lnTo>
                <a:lnTo>
                  <a:pt x="1711" y="2125"/>
                </a:lnTo>
                <a:lnTo>
                  <a:pt x="1734" y="2042"/>
                </a:lnTo>
                <a:lnTo>
                  <a:pt x="1781" y="2042"/>
                </a:lnTo>
                <a:lnTo>
                  <a:pt x="1804" y="2125"/>
                </a:lnTo>
                <a:lnTo>
                  <a:pt x="1804" y="2125"/>
                </a:lnTo>
                <a:lnTo>
                  <a:pt x="1811" y="2151"/>
                </a:lnTo>
                <a:lnTo>
                  <a:pt x="1817" y="2181"/>
                </a:lnTo>
                <a:lnTo>
                  <a:pt x="1817" y="2181"/>
                </a:lnTo>
                <a:lnTo>
                  <a:pt x="1823" y="2156"/>
                </a:lnTo>
                <a:lnTo>
                  <a:pt x="1830" y="2125"/>
                </a:lnTo>
                <a:lnTo>
                  <a:pt x="1850" y="2042"/>
                </a:lnTo>
                <a:close/>
                <a:moveTo>
                  <a:pt x="2016" y="2037"/>
                </a:moveTo>
                <a:lnTo>
                  <a:pt x="2016" y="2037"/>
                </a:lnTo>
                <a:lnTo>
                  <a:pt x="2006" y="2038"/>
                </a:lnTo>
                <a:lnTo>
                  <a:pt x="1995" y="2039"/>
                </a:lnTo>
                <a:lnTo>
                  <a:pt x="1985" y="2042"/>
                </a:lnTo>
                <a:lnTo>
                  <a:pt x="1976" y="2046"/>
                </a:lnTo>
                <a:lnTo>
                  <a:pt x="1967" y="2050"/>
                </a:lnTo>
                <a:lnTo>
                  <a:pt x="1958" y="2057"/>
                </a:lnTo>
                <a:lnTo>
                  <a:pt x="1951" y="2062"/>
                </a:lnTo>
                <a:lnTo>
                  <a:pt x="1944" y="2070"/>
                </a:lnTo>
                <a:lnTo>
                  <a:pt x="1937" y="2078"/>
                </a:lnTo>
                <a:lnTo>
                  <a:pt x="1932" y="2087"/>
                </a:lnTo>
                <a:lnTo>
                  <a:pt x="1926" y="2097"/>
                </a:lnTo>
                <a:lnTo>
                  <a:pt x="1923" y="2107"/>
                </a:lnTo>
                <a:lnTo>
                  <a:pt x="1920" y="2118"/>
                </a:lnTo>
                <a:lnTo>
                  <a:pt x="1916" y="2130"/>
                </a:lnTo>
                <a:lnTo>
                  <a:pt x="1915" y="2141"/>
                </a:lnTo>
                <a:lnTo>
                  <a:pt x="1915" y="2155"/>
                </a:lnTo>
                <a:lnTo>
                  <a:pt x="1915" y="2155"/>
                </a:lnTo>
                <a:lnTo>
                  <a:pt x="1915" y="2167"/>
                </a:lnTo>
                <a:lnTo>
                  <a:pt x="1916" y="2179"/>
                </a:lnTo>
                <a:lnTo>
                  <a:pt x="1920" y="2190"/>
                </a:lnTo>
                <a:lnTo>
                  <a:pt x="1923" y="2201"/>
                </a:lnTo>
                <a:lnTo>
                  <a:pt x="1926" y="2211"/>
                </a:lnTo>
                <a:lnTo>
                  <a:pt x="1932" y="2221"/>
                </a:lnTo>
                <a:lnTo>
                  <a:pt x="1937" y="2230"/>
                </a:lnTo>
                <a:lnTo>
                  <a:pt x="1944" y="2238"/>
                </a:lnTo>
                <a:lnTo>
                  <a:pt x="1951" y="2246"/>
                </a:lnTo>
                <a:lnTo>
                  <a:pt x="1958" y="2252"/>
                </a:lnTo>
                <a:lnTo>
                  <a:pt x="1967" y="2258"/>
                </a:lnTo>
                <a:lnTo>
                  <a:pt x="1976" y="2262"/>
                </a:lnTo>
                <a:lnTo>
                  <a:pt x="1985" y="2266"/>
                </a:lnTo>
                <a:lnTo>
                  <a:pt x="1995" y="2269"/>
                </a:lnTo>
                <a:lnTo>
                  <a:pt x="2006" y="2270"/>
                </a:lnTo>
                <a:lnTo>
                  <a:pt x="2016" y="2271"/>
                </a:lnTo>
                <a:lnTo>
                  <a:pt x="2016" y="2271"/>
                </a:lnTo>
                <a:lnTo>
                  <a:pt x="2027" y="2270"/>
                </a:lnTo>
                <a:lnTo>
                  <a:pt x="2039" y="2269"/>
                </a:lnTo>
                <a:lnTo>
                  <a:pt x="2049" y="2266"/>
                </a:lnTo>
                <a:lnTo>
                  <a:pt x="2057" y="2262"/>
                </a:lnTo>
                <a:lnTo>
                  <a:pt x="2066" y="2258"/>
                </a:lnTo>
                <a:lnTo>
                  <a:pt x="2075" y="2252"/>
                </a:lnTo>
                <a:lnTo>
                  <a:pt x="2083" y="2246"/>
                </a:lnTo>
                <a:lnTo>
                  <a:pt x="2090" y="2238"/>
                </a:lnTo>
                <a:lnTo>
                  <a:pt x="2096" y="2230"/>
                </a:lnTo>
                <a:lnTo>
                  <a:pt x="2102" y="2221"/>
                </a:lnTo>
                <a:lnTo>
                  <a:pt x="2106" y="2211"/>
                </a:lnTo>
                <a:lnTo>
                  <a:pt x="2111" y="2201"/>
                </a:lnTo>
                <a:lnTo>
                  <a:pt x="2114" y="2190"/>
                </a:lnTo>
                <a:lnTo>
                  <a:pt x="2116" y="2179"/>
                </a:lnTo>
                <a:lnTo>
                  <a:pt x="2119" y="2167"/>
                </a:lnTo>
                <a:lnTo>
                  <a:pt x="2119" y="2155"/>
                </a:lnTo>
                <a:lnTo>
                  <a:pt x="2119" y="2155"/>
                </a:lnTo>
                <a:lnTo>
                  <a:pt x="2119" y="2141"/>
                </a:lnTo>
                <a:lnTo>
                  <a:pt x="2116" y="2130"/>
                </a:lnTo>
                <a:lnTo>
                  <a:pt x="2114" y="2118"/>
                </a:lnTo>
                <a:lnTo>
                  <a:pt x="2111" y="2107"/>
                </a:lnTo>
                <a:lnTo>
                  <a:pt x="2106" y="2097"/>
                </a:lnTo>
                <a:lnTo>
                  <a:pt x="2102" y="2087"/>
                </a:lnTo>
                <a:lnTo>
                  <a:pt x="2096" y="2078"/>
                </a:lnTo>
                <a:lnTo>
                  <a:pt x="2090" y="2070"/>
                </a:lnTo>
                <a:lnTo>
                  <a:pt x="2083" y="2062"/>
                </a:lnTo>
                <a:lnTo>
                  <a:pt x="2075" y="2057"/>
                </a:lnTo>
                <a:lnTo>
                  <a:pt x="2066" y="2050"/>
                </a:lnTo>
                <a:lnTo>
                  <a:pt x="2057" y="2046"/>
                </a:lnTo>
                <a:lnTo>
                  <a:pt x="2049" y="2042"/>
                </a:lnTo>
                <a:lnTo>
                  <a:pt x="2039" y="2039"/>
                </a:lnTo>
                <a:lnTo>
                  <a:pt x="2027" y="2038"/>
                </a:lnTo>
                <a:lnTo>
                  <a:pt x="2016" y="2037"/>
                </a:lnTo>
                <a:lnTo>
                  <a:pt x="2016" y="2037"/>
                </a:lnTo>
                <a:close/>
                <a:moveTo>
                  <a:pt x="2016" y="2219"/>
                </a:moveTo>
                <a:lnTo>
                  <a:pt x="2016" y="2219"/>
                </a:lnTo>
                <a:lnTo>
                  <a:pt x="2006" y="2218"/>
                </a:lnTo>
                <a:lnTo>
                  <a:pt x="1998" y="2215"/>
                </a:lnTo>
                <a:lnTo>
                  <a:pt x="1991" y="2209"/>
                </a:lnTo>
                <a:lnTo>
                  <a:pt x="1984" y="2201"/>
                </a:lnTo>
                <a:lnTo>
                  <a:pt x="1978" y="2192"/>
                </a:lnTo>
                <a:lnTo>
                  <a:pt x="1974" y="2181"/>
                </a:lnTo>
                <a:lnTo>
                  <a:pt x="1972" y="2168"/>
                </a:lnTo>
                <a:lnTo>
                  <a:pt x="1972" y="2155"/>
                </a:lnTo>
                <a:lnTo>
                  <a:pt x="1972" y="2155"/>
                </a:lnTo>
                <a:lnTo>
                  <a:pt x="1972" y="2140"/>
                </a:lnTo>
                <a:lnTo>
                  <a:pt x="1974" y="2128"/>
                </a:lnTo>
                <a:lnTo>
                  <a:pt x="1978" y="2117"/>
                </a:lnTo>
                <a:lnTo>
                  <a:pt x="1984" y="2107"/>
                </a:lnTo>
                <a:lnTo>
                  <a:pt x="1991" y="2099"/>
                </a:lnTo>
                <a:lnTo>
                  <a:pt x="1998" y="2093"/>
                </a:lnTo>
                <a:lnTo>
                  <a:pt x="2006" y="2090"/>
                </a:lnTo>
                <a:lnTo>
                  <a:pt x="2016" y="2089"/>
                </a:lnTo>
                <a:lnTo>
                  <a:pt x="2016" y="2089"/>
                </a:lnTo>
                <a:lnTo>
                  <a:pt x="2026" y="2090"/>
                </a:lnTo>
                <a:lnTo>
                  <a:pt x="2035" y="2093"/>
                </a:lnTo>
                <a:lnTo>
                  <a:pt x="2043" y="2099"/>
                </a:lnTo>
                <a:lnTo>
                  <a:pt x="2050" y="2107"/>
                </a:lnTo>
                <a:lnTo>
                  <a:pt x="2055" y="2117"/>
                </a:lnTo>
                <a:lnTo>
                  <a:pt x="2059" y="2128"/>
                </a:lnTo>
                <a:lnTo>
                  <a:pt x="2061" y="2140"/>
                </a:lnTo>
                <a:lnTo>
                  <a:pt x="2062" y="2155"/>
                </a:lnTo>
                <a:lnTo>
                  <a:pt x="2062" y="2155"/>
                </a:lnTo>
                <a:lnTo>
                  <a:pt x="2061" y="2168"/>
                </a:lnTo>
                <a:lnTo>
                  <a:pt x="2059" y="2181"/>
                </a:lnTo>
                <a:lnTo>
                  <a:pt x="2055" y="2192"/>
                </a:lnTo>
                <a:lnTo>
                  <a:pt x="2050" y="2201"/>
                </a:lnTo>
                <a:lnTo>
                  <a:pt x="2043" y="2209"/>
                </a:lnTo>
                <a:lnTo>
                  <a:pt x="2035" y="2215"/>
                </a:lnTo>
                <a:lnTo>
                  <a:pt x="2026" y="2218"/>
                </a:lnTo>
                <a:lnTo>
                  <a:pt x="2016" y="2219"/>
                </a:lnTo>
                <a:lnTo>
                  <a:pt x="2016" y="2219"/>
                </a:lnTo>
                <a:close/>
                <a:moveTo>
                  <a:pt x="843" y="2116"/>
                </a:moveTo>
                <a:lnTo>
                  <a:pt x="910" y="2266"/>
                </a:lnTo>
                <a:lnTo>
                  <a:pt x="849" y="2266"/>
                </a:lnTo>
                <a:lnTo>
                  <a:pt x="803" y="2162"/>
                </a:lnTo>
                <a:lnTo>
                  <a:pt x="772" y="2199"/>
                </a:lnTo>
                <a:lnTo>
                  <a:pt x="772" y="2266"/>
                </a:lnTo>
                <a:lnTo>
                  <a:pt x="718" y="2266"/>
                </a:lnTo>
                <a:lnTo>
                  <a:pt x="718" y="1977"/>
                </a:lnTo>
                <a:lnTo>
                  <a:pt x="772" y="1949"/>
                </a:lnTo>
                <a:lnTo>
                  <a:pt x="772" y="2128"/>
                </a:lnTo>
                <a:lnTo>
                  <a:pt x="772" y="2128"/>
                </a:lnTo>
                <a:lnTo>
                  <a:pt x="794" y="2099"/>
                </a:lnTo>
                <a:lnTo>
                  <a:pt x="838" y="2042"/>
                </a:lnTo>
                <a:lnTo>
                  <a:pt x="903" y="2042"/>
                </a:lnTo>
                <a:lnTo>
                  <a:pt x="843" y="2116"/>
                </a:lnTo>
                <a:close/>
                <a:moveTo>
                  <a:pt x="1105" y="2266"/>
                </a:moveTo>
                <a:lnTo>
                  <a:pt x="1049" y="2266"/>
                </a:lnTo>
                <a:lnTo>
                  <a:pt x="1049" y="2042"/>
                </a:lnTo>
                <a:lnTo>
                  <a:pt x="1105" y="2042"/>
                </a:lnTo>
                <a:lnTo>
                  <a:pt x="1105" y="2061"/>
                </a:lnTo>
                <a:lnTo>
                  <a:pt x="1105" y="2061"/>
                </a:lnTo>
                <a:lnTo>
                  <a:pt x="1110" y="2056"/>
                </a:lnTo>
                <a:lnTo>
                  <a:pt x="1116" y="2051"/>
                </a:lnTo>
                <a:lnTo>
                  <a:pt x="1123" y="2047"/>
                </a:lnTo>
                <a:lnTo>
                  <a:pt x="1129" y="2043"/>
                </a:lnTo>
                <a:lnTo>
                  <a:pt x="1137" y="2041"/>
                </a:lnTo>
                <a:lnTo>
                  <a:pt x="1145" y="2039"/>
                </a:lnTo>
                <a:lnTo>
                  <a:pt x="1153" y="2038"/>
                </a:lnTo>
                <a:lnTo>
                  <a:pt x="1162" y="2037"/>
                </a:lnTo>
                <a:lnTo>
                  <a:pt x="1162" y="2037"/>
                </a:lnTo>
                <a:lnTo>
                  <a:pt x="1172" y="2038"/>
                </a:lnTo>
                <a:lnTo>
                  <a:pt x="1180" y="2039"/>
                </a:lnTo>
                <a:lnTo>
                  <a:pt x="1188" y="2041"/>
                </a:lnTo>
                <a:lnTo>
                  <a:pt x="1197" y="2043"/>
                </a:lnTo>
                <a:lnTo>
                  <a:pt x="1204" y="2048"/>
                </a:lnTo>
                <a:lnTo>
                  <a:pt x="1210" y="2052"/>
                </a:lnTo>
                <a:lnTo>
                  <a:pt x="1217" y="2057"/>
                </a:lnTo>
                <a:lnTo>
                  <a:pt x="1223" y="2063"/>
                </a:lnTo>
                <a:lnTo>
                  <a:pt x="1227" y="2070"/>
                </a:lnTo>
                <a:lnTo>
                  <a:pt x="1232" y="2078"/>
                </a:lnTo>
                <a:lnTo>
                  <a:pt x="1235" y="2086"/>
                </a:lnTo>
                <a:lnTo>
                  <a:pt x="1238" y="2096"/>
                </a:lnTo>
                <a:lnTo>
                  <a:pt x="1240" y="2106"/>
                </a:lnTo>
                <a:lnTo>
                  <a:pt x="1242" y="2116"/>
                </a:lnTo>
                <a:lnTo>
                  <a:pt x="1243" y="2127"/>
                </a:lnTo>
                <a:lnTo>
                  <a:pt x="1244" y="2139"/>
                </a:lnTo>
                <a:lnTo>
                  <a:pt x="1244" y="2266"/>
                </a:lnTo>
                <a:lnTo>
                  <a:pt x="1188" y="2266"/>
                </a:lnTo>
                <a:lnTo>
                  <a:pt x="1188" y="2142"/>
                </a:lnTo>
                <a:lnTo>
                  <a:pt x="1188" y="2142"/>
                </a:lnTo>
                <a:lnTo>
                  <a:pt x="1187" y="2130"/>
                </a:lnTo>
                <a:lnTo>
                  <a:pt x="1186" y="2118"/>
                </a:lnTo>
                <a:lnTo>
                  <a:pt x="1183" y="2109"/>
                </a:lnTo>
                <a:lnTo>
                  <a:pt x="1178" y="2101"/>
                </a:lnTo>
                <a:lnTo>
                  <a:pt x="1173" y="2096"/>
                </a:lnTo>
                <a:lnTo>
                  <a:pt x="1166" y="2091"/>
                </a:lnTo>
                <a:lnTo>
                  <a:pt x="1157" y="2089"/>
                </a:lnTo>
                <a:lnTo>
                  <a:pt x="1147" y="2088"/>
                </a:lnTo>
                <a:lnTo>
                  <a:pt x="1147" y="2088"/>
                </a:lnTo>
                <a:lnTo>
                  <a:pt x="1138" y="2089"/>
                </a:lnTo>
                <a:lnTo>
                  <a:pt x="1129" y="2091"/>
                </a:lnTo>
                <a:lnTo>
                  <a:pt x="1122" y="2096"/>
                </a:lnTo>
                <a:lnTo>
                  <a:pt x="1116" y="2102"/>
                </a:lnTo>
                <a:lnTo>
                  <a:pt x="1112" y="2109"/>
                </a:lnTo>
                <a:lnTo>
                  <a:pt x="1108" y="2119"/>
                </a:lnTo>
                <a:lnTo>
                  <a:pt x="1106" y="2130"/>
                </a:lnTo>
                <a:lnTo>
                  <a:pt x="1105" y="2142"/>
                </a:lnTo>
                <a:lnTo>
                  <a:pt x="1105" y="2266"/>
                </a:lnTo>
                <a:close/>
                <a:moveTo>
                  <a:pt x="1418" y="2058"/>
                </a:moveTo>
                <a:lnTo>
                  <a:pt x="1418" y="2058"/>
                </a:lnTo>
                <a:lnTo>
                  <a:pt x="1413" y="2053"/>
                </a:lnTo>
                <a:lnTo>
                  <a:pt x="1407" y="2049"/>
                </a:lnTo>
                <a:lnTo>
                  <a:pt x="1402" y="2046"/>
                </a:lnTo>
                <a:lnTo>
                  <a:pt x="1395" y="2042"/>
                </a:lnTo>
                <a:lnTo>
                  <a:pt x="1388" y="2040"/>
                </a:lnTo>
                <a:lnTo>
                  <a:pt x="1382" y="2039"/>
                </a:lnTo>
                <a:lnTo>
                  <a:pt x="1375" y="2038"/>
                </a:lnTo>
                <a:lnTo>
                  <a:pt x="1368" y="2037"/>
                </a:lnTo>
                <a:lnTo>
                  <a:pt x="1368" y="2037"/>
                </a:lnTo>
                <a:lnTo>
                  <a:pt x="1358" y="2038"/>
                </a:lnTo>
                <a:lnTo>
                  <a:pt x="1349" y="2039"/>
                </a:lnTo>
                <a:lnTo>
                  <a:pt x="1340" y="2041"/>
                </a:lnTo>
                <a:lnTo>
                  <a:pt x="1332" y="2046"/>
                </a:lnTo>
                <a:lnTo>
                  <a:pt x="1324" y="2049"/>
                </a:lnTo>
                <a:lnTo>
                  <a:pt x="1317" y="2055"/>
                </a:lnTo>
                <a:lnTo>
                  <a:pt x="1310" y="2061"/>
                </a:lnTo>
                <a:lnTo>
                  <a:pt x="1304" y="2068"/>
                </a:lnTo>
                <a:lnTo>
                  <a:pt x="1298" y="2076"/>
                </a:lnTo>
                <a:lnTo>
                  <a:pt x="1294" y="2085"/>
                </a:lnTo>
                <a:lnTo>
                  <a:pt x="1289" y="2093"/>
                </a:lnTo>
                <a:lnTo>
                  <a:pt x="1286" y="2105"/>
                </a:lnTo>
                <a:lnTo>
                  <a:pt x="1284" y="2115"/>
                </a:lnTo>
                <a:lnTo>
                  <a:pt x="1282" y="2127"/>
                </a:lnTo>
                <a:lnTo>
                  <a:pt x="1280" y="2139"/>
                </a:lnTo>
                <a:lnTo>
                  <a:pt x="1280" y="2151"/>
                </a:lnTo>
                <a:lnTo>
                  <a:pt x="1280" y="2151"/>
                </a:lnTo>
                <a:lnTo>
                  <a:pt x="1280" y="2166"/>
                </a:lnTo>
                <a:lnTo>
                  <a:pt x="1282" y="2178"/>
                </a:lnTo>
                <a:lnTo>
                  <a:pt x="1284" y="2190"/>
                </a:lnTo>
                <a:lnTo>
                  <a:pt x="1286" y="2202"/>
                </a:lnTo>
                <a:lnTo>
                  <a:pt x="1289" y="2212"/>
                </a:lnTo>
                <a:lnTo>
                  <a:pt x="1294" y="2222"/>
                </a:lnTo>
                <a:lnTo>
                  <a:pt x="1298" y="2231"/>
                </a:lnTo>
                <a:lnTo>
                  <a:pt x="1304" y="2239"/>
                </a:lnTo>
                <a:lnTo>
                  <a:pt x="1309" y="2247"/>
                </a:lnTo>
                <a:lnTo>
                  <a:pt x="1316" y="2252"/>
                </a:lnTo>
                <a:lnTo>
                  <a:pt x="1323" y="2258"/>
                </a:lnTo>
                <a:lnTo>
                  <a:pt x="1330" y="2262"/>
                </a:lnTo>
                <a:lnTo>
                  <a:pt x="1339" y="2266"/>
                </a:lnTo>
                <a:lnTo>
                  <a:pt x="1348" y="2269"/>
                </a:lnTo>
                <a:lnTo>
                  <a:pt x="1357" y="2270"/>
                </a:lnTo>
                <a:lnTo>
                  <a:pt x="1367" y="2271"/>
                </a:lnTo>
                <a:lnTo>
                  <a:pt x="1367" y="2271"/>
                </a:lnTo>
                <a:lnTo>
                  <a:pt x="1374" y="2270"/>
                </a:lnTo>
                <a:lnTo>
                  <a:pt x="1382" y="2269"/>
                </a:lnTo>
                <a:lnTo>
                  <a:pt x="1388" y="2268"/>
                </a:lnTo>
                <a:lnTo>
                  <a:pt x="1395" y="2266"/>
                </a:lnTo>
                <a:lnTo>
                  <a:pt x="1401" y="2262"/>
                </a:lnTo>
                <a:lnTo>
                  <a:pt x="1407" y="2259"/>
                </a:lnTo>
                <a:lnTo>
                  <a:pt x="1413" y="2255"/>
                </a:lnTo>
                <a:lnTo>
                  <a:pt x="1418" y="2249"/>
                </a:lnTo>
                <a:lnTo>
                  <a:pt x="1418" y="2255"/>
                </a:lnTo>
                <a:lnTo>
                  <a:pt x="1418" y="2255"/>
                </a:lnTo>
                <a:lnTo>
                  <a:pt x="1418" y="2264"/>
                </a:lnTo>
                <a:lnTo>
                  <a:pt x="1417" y="2274"/>
                </a:lnTo>
                <a:lnTo>
                  <a:pt x="1414" y="2284"/>
                </a:lnTo>
                <a:lnTo>
                  <a:pt x="1412" y="2288"/>
                </a:lnTo>
                <a:lnTo>
                  <a:pt x="1409" y="2293"/>
                </a:lnTo>
                <a:lnTo>
                  <a:pt x="1405" y="2297"/>
                </a:lnTo>
                <a:lnTo>
                  <a:pt x="1401" y="2301"/>
                </a:lnTo>
                <a:lnTo>
                  <a:pt x="1395" y="2305"/>
                </a:lnTo>
                <a:lnTo>
                  <a:pt x="1388" y="2308"/>
                </a:lnTo>
                <a:lnTo>
                  <a:pt x="1379" y="2310"/>
                </a:lnTo>
                <a:lnTo>
                  <a:pt x="1370" y="2313"/>
                </a:lnTo>
                <a:lnTo>
                  <a:pt x="1359" y="2314"/>
                </a:lnTo>
                <a:lnTo>
                  <a:pt x="1346" y="2314"/>
                </a:lnTo>
                <a:lnTo>
                  <a:pt x="1344" y="2314"/>
                </a:lnTo>
                <a:lnTo>
                  <a:pt x="1364" y="2357"/>
                </a:lnTo>
                <a:lnTo>
                  <a:pt x="1365" y="2357"/>
                </a:lnTo>
                <a:lnTo>
                  <a:pt x="1365" y="2357"/>
                </a:lnTo>
                <a:lnTo>
                  <a:pt x="1378" y="2357"/>
                </a:lnTo>
                <a:lnTo>
                  <a:pt x="1390" y="2356"/>
                </a:lnTo>
                <a:lnTo>
                  <a:pt x="1402" y="2353"/>
                </a:lnTo>
                <a:lnTo>
                  <a:pt x="1413" y="2350"/>
                </a:lnTo>
                <a:lnTo>
                  <a:pt x="1423" y="2346"/>
                </a:lnTo>
                <a:lnTo>
                  <a:pt x="1432" y="2341"/>
                </a:lnTo>
                <a:lnTo>
                  <a:pt x="1439" y="2336"/>
                </a:lnTo>
                <a:lnTo>
                  <a:pt x="1446" y="2329"/>
                </a:lnTo>
                <a:lnTo>
                  <a:pt x="1453" y="2321"/>
                </a:lnTo>
                <a:lnTo>
                  <a:pt x="1458" y="2314"/>
                </a:lnTo>
                <a:lnTo>
                  <a:pt x="1463" y="2304"/>
                </a:lnTo>
                <a:lnTo>
                  <a:pt x="1466" y="2294"/>
                </a:lnTo>
                <a:lnTo>
                  <a:pt x="1469" y="2284"/>
                </a:lnTo>
                <a:lnTo>
                  <a:pt x="1472" y="2271"/>
                </a:lnTo>
                <a:lnTo>
                  <a:pt x="1473" y="2259"/>
                </a:lnTo>
                <a:lnTo>
                  <a:pt x="1473" y="2246"/>
                </a:lnTo>
                <a:lnTo>
                  <a:pt x="1473" y="2042"/>
                </a:lnTo>
                <a:lnTo>
                  <a:pt x="1418" y="2042"/>
                </a:lnTo>
                <a:lnTo>
                  <a:pt x="1418" y="2058"/>
                </a:lnTo>
                <a:close/>
                <a:moveTo>
                  <a:pt x="1418" y="2110"/>
                </a:moveTo>
                <a:lnTo>
                  <a:pt x="1418" y="2198"/>
                </a:lnTo>
                <a:lnTo>
                  <a:pt x="1418" y="2198"/>
                </a:lnTo>
                <a:lnTo>
                  <a:pt x="1411" y="2206"/>
                </a:lnTo>
                <a:lnTo>
                  <a:pt x="1403" y="2214"/>
                </a:lnTo>
                <a:lnTo>
                  <a:pt x="1397" y="2216"/>
                </a:lnTo>
                <a:lnTo>
                  <a:pt x="1392" y="2218"/>
                </a:lnTo>
                <a:lnTo>
                  <a:pt x="1386" y="2219"/>
                </a:lnTo>
                <a:lnTo>
                  <a:pt x="1378" y="2220"/>
                </a:lnTo>
                <a:lnTo>
                  <a:pt x="1378" y="2220"/>
                </a:lnTo>
                <a:lnTo>
                  <a:pt x="1372" y="2219"/>
                </a:lnTo>
                <a:lnTo>
                  <a:pt x="1364" y="2217"/>
                </a:lnTo>
                <a:lnTo>
                  <a:pt x="1357" y="2214"/>
                </a:lnTo>
                <a:lnTo>
                  <a:pt x="1350" y="2207"/>
                </a:lnTo>
                <a:lnTo>
                  <a:pt x="1345" y="2198"/>
                </a:lnTo>
                <a:lnTo>
                  <a:pt x="1340" y="2186"/>
                </a:lnTo>
                <a:lnTo>
                  <a:pt x="1338" y="2170"/>
                </a:lnTo>
                <a:lnTo>
                  <a:pt x="1337" y="2150"/>
                </a:lnTo>
                <a:lnTo>
                  <a:pt x="1337" y="2150"/>
                </a:lnTo>
                <a:lnTo>
                  <a:pt x="1338" y="2133"/>
                </a:lnTo>
                <a:lnTo>
                  <a:pt x="1340" y="2119"/>
                </a:lnTo>
                <a:lnTo>
                  <a:pt x="1345" y="2108"/>
                </a:lnTo>
                <a:lnTo>
                  <a:pt x="1350" y="2100"/>
                </a:lnTo>
                <a:lnTo>
                  <a:pt x="1357" y="2095"/>
                </a:lnTo>
                <a:lnTo>
                  <a:pt x="1364" y="2090"/>
                </a:lnTo>
                <a:lnTo>
                  <a:pt x="1372" y="2089"/>
                </a:lnTo>
                <a:lnTo>
                  <a:pt x="1378" y="2088"/>
                </a:lnTo>
                <a:lnTo>
                  <a:pt x="1378" y="2088"/>
                </a:lnTo>
                <a:lnTo>
                  <a:pt x="1386" y="2089"/>
                </a:lnTo>
                <a:lnTo>
                  <a:pt x="1393" y="2090"/>
                </a:lnTo>
                <a:lnTo>
                  <a:pt x="1398" y="2092"/>
                </a:lnTo>
                <a:lnTo>
                  <a:pt x="1404" y="2096"/>
                </a:lnTo>
                <a:lnTo>
                  <a:pt x="1408" y="2099"/>
                </a:lnTo>
                <a:lnTo>
                  <a:pt x="1412" y="2102"/>
                </a:lnTo>
                <a:lnTo>
                  <a:pt x="1418" y="2110"/>
                </a:lnTo>
                <a:lnTo>
                  <a:pt x="1418" y="2110"/>
                </a:lnTo>
                <a:close/>
                <a:moveTo>
                  <a:pt x="945" y="2042"/>
                </a:moveTo>
                <a:lnTo>
                  <a:pt x="1000" y="2042"/>
                </a:lnTo>
                <a:lnTo>
                  <a:pt x="1000" y="2141"/>
                </a:lnTo>
                <a:lnTo>
                  <a:pt x="1000" y="2266"/>
                </a:lnTo>
                <a:lnTo>
                  <a:pt x="945" y="2266"/>
                </a:lnTo>
                <a:lnTo>
                  <a:pt x="945" y="2042"/>
                </a:lnTo>
                <a:close/>
                <a:moveTo>
                  <a:pt x="1000" y="1982"/>
                </a:moveTo>
                <a:lnTo>
                  <a:pt x="1000" y="2010"/>
                </a:lnTo>
                <a:lnTo>
                  <a:pt x="945" y="2010"/>
                </a:lnTo>
                <a:lnTo>
                  <a:pt x="945" y="1954"/>
                </a:lnTo>
                <a:lnTo>
                  <a:pt x="1000" y="1954"/>
                </a:lnTo>
                <a:lnTo>
                  <a:pt x="1000" y="1982"/>
                </a:lnTo>
                <a:close/>
                <a:moveTo>
                  <a:pt x="2325" y="1977"/>
                </a:moveTo>
                <a:lnTo>
                  <a:pt x="2381" y="1949"/>
                </a:lnTo>
                <a:lnTo>
                  <a:pt x="2381" y="2151"/>
                </a:lnTo>
                <a:lnTo>
                  <a:pt x="2381" y="2266"/>
                </a:lnTo>
                <a:lnTo>
                  <a:pt x="2325" y="2266"/>
                </a:lnTo>
                <a:lnTo>
                  <a:pt x="2325" y="1977"/>
                </a:lnTo>
                <a:close/>
                <a:moveTo>
                  <a:pt x="400" y="762"/>
                </a:moveTo>
                <a:lnTo>
                  <a:pt x="856" y="762"/>
                </a:lnTo>
                <a:lnTo>
                  <a:pt x="856" y="498"/>
                </a:lnTo>
                <a:lnTo>
                  <a:pt x="400" y="498"/>
                </a:lnTo>
                <a:lnTo>
                  <a:pt x="400" y="290"/>
                </a:lnTo>
                <a:lnTo>
                  <a:pt x="905" y="290"/>
                </a:lnTo>
                <a:lnTo>
                  <a:pt x="737" y="0"/>
                </a:lnTo>
                <a:lnTo>
                  <a:pt x="22" y="0"/>
                </a:lnTo>
                <a:lnTo>
                  <a:pt x="22" y="1261"/>
                </a:lnTo>
                <a:lnTo>
                  <a:pt x="1030" y="1261"/>
                </a:lnTo>
                <a:lnTo>
                  <a:pt x="1030" y="970"/>
                </a:lnTo>
                <a:lnTo>
                  <a:pt x="400" y="970"/>
                </a:lnTo>
                <a:lnTo>
                  <a:pt x="400" y="762"/>
                </a:lnTo>
                <a:close/>
                <a:moveTo>
                  <a:pt x="1702" y="0"/>
                </a:moveTo>
                <a:lnTo>
                  <a:pt x="1487" y="411"/>
                </a:lnTo>
                <a:lnTo>
                  <a:pt x="1274" y="0"/>
                </a:lnTo>
                <a:lnTo>
                  <a:pt x="856" y="0"/>
                </a:lnTo>
                <a:lnTo>
                  <a:pt x="1296" y="762"/>
                </a:lnTo>
                <a:lnTo>
                  <a:pt x="1296" y="1261"/>
                </a:lnTo>
                <a:lnTo>
                  <a:pt x="1673" y="1261"/>
                </a:lnTo>
                <a:lnTo>
                  <a:pt x="1673" y="762"/>
                </a:lnTo>
                <a:lnTo>
                  <a:pt x="2114" y="0"/>
                </a:lnTo>
                <a:lnTo>
                  <a:pt x="170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F0D6307-6081-4397-BE15-804F776796D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>
            <a:off x="387183" y="1050347"/>
            <a:ext cx="4654717" cy="323965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14287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39807BB-DB28-43BF-A9ED-093B0BE3FC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724" y="2242508"/>
            <a:ext cx="4073634" cy="547866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30E3E47-D525-476A-B2A1-2293DF61F3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7719" y="3191073"/>
            <a:ext cx="4073644" cy="41118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647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76D6A0-D70C-48E0-B46A-D9ADB33F1A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07" t="662" r="403" b="198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7A3EF4-87BC-4EE3-80CC-623736BCE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7A3EF4-87BC-4EE3-80CC-623736BCE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7A47FE-8BB5-4134-AF17-E7DFE137D4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0511448" y="5340350"/>
            <a:ext cx="986911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10708196" y="5340350"/>
            <a:ext cx="790163" cy="288925"/>
          </a:xfrm>
          <a:custGeom>
            <a:avLst/>
            <a:gdLst>
              <a:gd name="T0" fmla="*/ 2491 w 2491"/>
              <a:gd name="T1" fmla="*/ 0 h 910"/>
              <a:gd name="T2" fmla="*/ 0 w 2491"/>
              <a:gd name="T3" fmla="*/ 910 h 910"/>
              <a:gd name="T4" fmla="*/ 2491 w 2491"/>
              <a:gd name="T5" fmla="*/ 469 h 910"/>
              <a:gd name="T6" fmla="*/ 2491 w 2491"/>
              <a:gd name="T7" fmla="*/ 0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91" h="910">
                <a:moveTo>
                  <a:pt x="2491" y="0"/>
                </a:moveTo>
                <a:lnTo>
                  <a:pt x="0" y="910"/>
                </a:lnTo>
                <a:lnTo>
                  <a:pt x="2491" y="469"/>
                </a:lnTo>
                <a:lnTo>
                  <a:pt x="2491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10511448" y="5749925"/>
            <a:ext cx="986911" cy="747713"/>
          </a:xfrm>
          <a:custGeom>
            <a:avLst/>
            <a:gdLst>
              <a:gd name="T0" fmla="*/ 235 w 3110"/>
              <a:gd name="T1" fmla="*/ 1600 h 2357"/>
              <a:gd name="T2" fmla="*/ 255 w 3110"/>
              <a:gd name="T3" fmla="*/ 1809 h 2357"/>
              <a:gd name="T4" fmla="*/ 152 w 3110"/>
              <a:gd name="T5" fmla="*/ 1823 h 2357"/>
              <a:gd name="T6" fmla="*/ 353 w 3110"/>
              <a:gd name="T7" fmla="*/ 1774 h 2357"/>
              <a:gd name="T8" fmla="*/ 419 w 3110"/>
              <a:gd name="T9" fmla="*/ 1871 h 2357"/>
              <a:gd name="T10" fmla="*/ 1148 w 3110"/>
              <a:gd name="T11" fmla="*/ 1664 h 2357"/>
              <a:gd name="T12" fmla="*/ 1225 w 3110"/>
              <a:gd name="T13" fmla="*/ 1751 h 2357"/>
              <a:gd name="T14" fmla="*/ 701 w 3110"/>
              <a:gd name="T15" fmla="*/ 1558 h 2357"/>
              <a:gd name="T16" fmla="*/ 744 w 3110"/>
              <a:gd name="T17" fmla="*/ 1723 h 2357"/>
              <a:gd name="T18" fmla="*/ 866 w 3110"/>
              <a:gd name="T19" fmla="*/ 1868 h 2357"/>
              <a:gd name="T20" fmla="*/ 838 w 3110"/>
              <a:gd name="T21" fmla="*/ 1696 h 2357"/>
              <a:gd name="T22" fmla="*/ 2035 w 3110"/>
              <a:gd name="T23" fmla="*/ 1874 h 2357"/>
              <a:gd name="T24" fmla="*/ 2173 w 3110"/>
              <a:gd name="T25" fmla="*/ 1760 h 2357"/>
              <a:gd name="T26" fmla="*/ 2115 w 3110"/>
              <a:gd name="T27" fmla="*/ 1743 h 2357"/>
              <a:gd name="T28" fmla="*/ 2074 w 3110"/>
              <a:gd name="T29" fmla="*/ 1696 h 2357"/>
              <a:gd name="T30" fmla="*/ 1318 w 3110"/>
              <a:gd name="T31" fmla="*/ 1748 h 2357"/>
              <a:gd name="T32" fmla="*/ 1455 w 3110"/>
              <a:gd name="T33" fmla="*/ 1858 h 2357"/>
              <a:gd name="T34" fmla="*/ 1484 w 3110"/>
              <a:gd name="T35" fmla="*/ 1938 h 2357"/>
              <a:gd name="T36" fmla="*/ 1378 w 3110"/>
              <a:gd name="T37" fmla="*/ 1794 h 2357"/>
              <a:gd name="T38" fmla="*/ 1740 w 3110"/>
              <a:gd name="T39" fmla="*/ 1690 h 2357"/>
              <a:gd name="T40" fmla="*/ 1644 w 3110"/>
              <a:gd name="T41" fmla="*/ 1791 h 2357"/>
              <a:gd name="T42" fmla="*/ 1835 w 3110"/>
              <a:gd name="T43" fmla="*/ 1723 h 2357"/>
              <a:gd name="T44" fmla="*/ 1698 w 3110"/>
              <a:gd name="T45" fmla="*/ 1800 h 2357"/>
              <a:gd name="T46" fmla="*/ 1721 w 3110"/>
              <a:gd name="T47" fmla="*/ 1831 h 2357"/>
              <a:gd name="T48" fmla="*/ 2256 w 3110"/>
              <a:gd name="T49" fmla="*/ 1780 h 2357"/>
              <a:gd name="T50" fmla="*/ 2243 w 3110"/>
              <a:gd name="T51" fmla="*/ 1665 h 2357"/>
              <a:gd name="T52" fmla="*/ 2306 w 3110"/>
              <a:gd name="T53" fmla="*/ 1880 h 2357"/>
              <a:gd name="T54" fmla="*/ 2338 w 3110"/>
              <a:gd name="T55" fmla="*/ 1722 h 2357"/>
              <a:gd name="T56" fmla="*/ 2929 w 3110"/>
              <a:gd name="T57" fmla="*/ 1763 h 2357"/>
              <a:gd name="T58" fmla="*/ 2750 w 3110"/>
              <a:gd name="T59" fmla="*/ 1695 h 2357"/>
              <a:gd name="T60" fmla="*/ 2872 w 3110"/>
              <a:gd name="T61" fmla="*/ 1874 h 2357"/>
              <a:gd name="T62" fmla="*/ 2658 w 3110"/>
              <a:gd name="T63" fmla="*/ 1797 h 2357"/>
              <a:gd name="T64" fmla="*/ 2623 w 3110"/>
              <a:gd name="T65" fmla="*/ 1867 h 2357"/>
              <a:gd name="T66" fmla="*/ 2482 w 3110"/>
              <a:gd name="T67" fmla="*/ 1876 h 2357"/>
              <a:gd name="T68" fmla="*/ 2513 w 3110"/>
              <a:gd name="T69" fmla="*/ 1825 h 2357"/>
              <a:gd name="T70" fmla="*/ 3019 w 3110"/>
              <a:gd name="T71" fmla="*/ 1651 h 2357"/>
              <a:gd name="T72" fmla="*/ 981 w 3110"/>
              <a:gd name="T73" fmla="*/ 1874 h 2357"/>
              <a:gd name="T74" fmla="*/ 2433 w 3110"/>
              <a:gd name="T75" fmla="*/ 2085 h 2357"/>
              <a:gd name="T76" fmla="*/ 2528 w 3110"/>
              <a:gd name="T77" fmla="*/ 2268 h 2357"/>
              <a:gd name="T78" fmla="*/ 2503 w 3110"/>
              <a:gd name="T79" fmla="*/ 2090 h 2357"/>
              <a:gd name="T80" fmla="*/ 631 w 3110"/>
              <a:gd name="T81" fmla="*/ 2093 h 2357"/>
              <a:gd name="T82" fmla="*/ 677 w 3110"/>
              <a:gd name="T83" fmla="*/ 2105 h 2357"/>
              <a:gd name="T84" fmla="*/ 203 w 3110"/>
              <a:gd name="T85" fmla="*/ 2151 h 2357"/>
              <a:gd name="T86" fmla="*/ 312 w 3110"/>
              <a:gd name="T87" fmla="*/ 2190 h 2357"/>
              <a:gd name="T88" fmla="*/ 507 w 3110"/>
              <a:gd name="T89" fmla="*/ 2190 h 2357"/>
              <a:gd name="T90" fmla="*/ 377 w 3110"/>
              <a:gd name="T91" fmla="*/ 2201 h 2357"/>
              <a:gd name="T92" fmla="*/ 442 w 3110"/>
              <a:gd name="T93" fmla="*/ 2201 h 2357"/>
              <a:gd name="T94" fmla="*/ 2213 w 3110"/>
              <a:gd name="T95" fmla="*/ 2056 h 2357"/>
              <a:gd name="T96" fmla="*/ 1608 w 3110"/>
              <a:gd name="T97" fmla="*/ 2042 h 2357"/>
              <a:gd name="T98" fmla="*/ 1951 w 3110"/>
              <a:gd name="T99" fmla="*/ 2062 h 2357"/>
              <a:gd name="T100" fmla="*/ 2016 w 3110"/>
              <a:gd name="T101" fmla="*/ 2271 h 2357"/>
              <a:gd name="T102" fmla="*/ 2075 w 3110"/>
              <a:gd name="T103" fmla="*/ 2057 h 2357"/>
              <a:gd name="T104" fmla="*/ 2016 w 3110"/>
              <a:gd name="T105" fmla="*/ 2089 h 2357"/>
              <a:gd name="T106" fmla="*/ 772 w 3110"/>
              <a:gd name="T107" fmla="*/ 1949 h 2357"/>
              <a:gd name="T108" fmla="*/ 1210 w 3110"/>
              <a:gd name="T109" fmla="*/ 2052 h 2357"/>
              <a:gd name="T110" fmla="*/ 1116 w 3110"/>
              <a:gd name="T111" fmla="*/ 2102 h 2357"/>
              <a:gd name="T112" fmla="*/ 1289 w 3110"/>
              <a:gd name="T113" fmla="*/ 2093 h 2357"/>
              <a:gd name="T114" fmla="*/ 1395 w 3110"/>
              <a:gd name="T115" fmla="*/ 2266 h 2357"/>
              <a:gd name="T116" fmla="*/ 1413 w 3110"/>
              <a:gd name="T117" fmla="*/ 2350 h 2357"/>
              <a:gd name="T118" fmla="*/ 1364 w 3110"/>
              <a:gd name="T119" fmla="*/ 2217 h 2357"/>
              <a:gd name="T120" fmla="*/ 1000 w 3110"/>
              <a:gd name="T121" fmla="*/ 2141 h 2357"/>
              <a:gd name="T122" fmla="*/ 400 w 3110"/>
              <a:gd name="T123" fmla="*/ 970 h 2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10" h="2357">
                <a:moveTo>
                  <a:pt x="259" y="1777"/>
                </a:moveTo>
                <a:lnTo>
                  <a:pt x="259" y="1777"/>
                </a:lnTo>
                <a:lnTo>
                  <a:pt x="259" y="1769"/>
                </a:lnTo>
                <a:lnTo>
                  <a:pt x="258" y="1762"/>
                </a:lnTo>
                <a:lnTo>
                  <a:pt x="255" y="1749"/>
                </a:lnTo>
                <a:lnTo>
                  <a:pt x="249" y="1738"/>
                </a:lnTo>
                <a:lnTo>
                  <a:pt x="242" y="1729"/>
                </a:lnTo>
                <a:lnTo>
                  <a:pt x="235" y="1722"/>
                </a:lnTo>
                <a:lnTo>
                  <a:pt x="227" y="1717"/>
                </a:lnTo>
                <a:lnTo>
                  <a:pt x="220" y="1712"/>
                </a:lnTo>
                <a:lnTo>
                  <a:pt x="213" y="1709"/>
                </a:lnTo>
                <a:lnTo>
                  <a:pt x="213" y="1709"/>
                </a:lnTo>
                <a:lnTo>
                  <a:pt x="221" y="1703"/>
                </a:lnTo>
                <a:lnTo>
                  <a:pt x="228" y="1698"/>
                </a:lnTo>
                <a:lnTo>
                  <a:pt x="233" y="1691"/>
                </a:lnTo>
                <a:lnTo>
                  <a:pt x="239" y="1683"/>
                </a:lnTo>
                <a:lnTo>
                  <a:pt x="243" y="1675"/>
                </a:lnTo>
                <a:lnTo>
                  <a:pt x="246" y="1666"/>
                </a:lnTo>
                <a:lnTo>
                  <a:pt x="248" y="1658"/>
                </a:lnTo>
                <a:lnTo>
                  <a:pt x="248" y="1648"/>
                </a:lnTo>
                <a:lnTo>
                  <a:pt x="248" y="1648"/>
                </a:lnTo>
                <a:lnTo>
                  <a:pt x="248" y="1639"/>
                </a:lnTo>
                <a:lnTo>
                  <a:pt x="247" y="1630"/>
                </a:lnTo>
                <a:lnTo>
                  <a:pt x="245" y="1622"/>
                </a:lnTo>
                <a:lnTo>
                  <a:pt x="242" y="1614"/>
                </a:lnTo>
                <a:lnTo>
                  <a:pt x="239" y="1606"/>
                </a:lnTo>
                <a:lnTo>
                  <a:pt x="235" y="1600"/>
                </a:lnTo>
                <a:lnTo>
                  <a:pt x="229" y="1594"/>
                </a:lnTo>
                <a:lnTo>
                  <a:pt x="223" y="1589"/>
                </a:lnTo>
                <a:lnTo>
                  <a:pt x="217" y="1584"/>
                </a:lnTo>
                <a:lnTo>
                  <a:pt x="210" y="1580"/>
                </a:lnTo>
                <a:lnTo>
                  <a:pt x="202" y="1576"/>
                </a:lnTo>
                <a:lnTo>
                  <a:pt x="193" y="1573"/>
                </a:lnTo>
                <a:lnTo>
                  <a:pt x="185" y="1571"/>
                </a:lnTo>
                <a:lnTo>
                  <a:pt x="175" y="1569"/>
                </a:lnTo>
                <a:lnTo>
                  <a:pt x="165" y="1569"/>
                </a:lnTo>
                <a:lnTo>
                  <a:pt x="153" y="1568"/>
                </a:lnTo>
                <a:lnTo>
                  <a:pt x="22" y="1568"/>
                </a:lnTo>
                <a:lnTo>
                  <a:pt x="22" y="1874"/>
                </a:lnTo>
                <a:lnTo>
                  <a:pt x="152" y="1874"/>
                </a:lnTo>
                <a:lnTo>
                  <a:pt x="152" y="1874"/>
                </a:lnTo>
                <a:lnTo>
                  <a:pt x="165" y="1874"/>
                </a:lnTo>
                <a:lnTo>
                  <a:pt x="176" y="1873"/>
                </a:lnTo>
                <a:lnTo>
                  <a:pt x="187" y="1871"/>
                </a:lnTo>
                <a:lnTo>
                  <a:pt x="197" y="1868"/>
                </a:lnTo>
                <a:lnTo>
                  <a:pt x="207" y="1864"/>
                </a:lnTo>
                <a:lnTo>
                  <a:pt x="216" y="1860"/>
                </a:lnTo>
                <a:lnTo>
                  <a:pt x="223" y="1854"/>
                </a:lnTo>
                <a:lnTo>
                  <a:pt x="230" y="1849"/>
                </a:lnTo>
                <a:lnTo>
                  <a:pt x="237" y="1842"/>
                </a:lnTo>
                <a:lnTo>
                  <a:pt x="242" y="1834"/>
                </a:lnTo>
                <a:lnTo>
                  <a:pt x="248" y="1827"/>
                </a:lnTo>
                <a:lnTo>
                  <a:pt x="251" y="1818"/>
                </a:lnTo>
                <a:lnTo>
                  <a:pt x="255" y="1809"/>
                </a:lnTo>
                <a:lnTo>
                  <a:pt x="257" y="1799"/>
                </a:lnTo>
                <a:lnTo>
                  <a:pt x="258" y="1788"/>
                </a:lnTo>
                <a:lnTo>
                  <a:pt x="259" y="1777"/>
                </a:lnTo>
                <a:lnTo>
                  <a:pt x="259" y="1777"/>
                </a:lnTo>
                <a:close/>
                <a:moveTo>
                  <a:pt x="152" y="1823"/>
                </a:moveTo>
                <a:lnTo>
                  <a:pt x="79" y="1823"/>
                </a:lnTo>
                <a:lnTo>
                  <a:pt x="79" y="1735"/>
                </a:lnTo>
                <a:lnTo>
                  <a:pt x="152" y="1735"/>
                </a:lnTo>
                <a:lnTo>
                  <a:pt x="152" y="1735"/>
                </a:lnTo>
                <a:lnTo>
                  <a:pt x="163" y="1737"/>
                </a:lnTo>
                <a:lnTo>
                  <a:pt x="172" y="1738"/>
                </a:lnTo>
                <a:lnTo>
                  <a:pt x="180" y="1741"/>
                </a:lnTo>
                <a:lnTo>
                  <a:pt x="187" y="1747"/>
                </a:lnTo>
                <a:lnTo>
                  <a:pt x="192" y="1752"/>
                </a:lnTo>
                <a:lnTo>
                  <a:pt x="196" y="1760"/>
                </a:lnTo>
                <a:lnTo>
                  <a:pt x="198" y="1769"/>
                </a:lnTo>
                <a:lnTo>
                  <a:pt x="199" y="1779"/>
                </a:lnTo>
                <a:lnTo>
                  <a:pt x="199" y="1779"/>
                </a:lnTo>
                <a:lnTo>
                  <a:pt x="198" y="1789"/>
                </a:lnTo>
                <a:lnTo>
                  <a:pt x="196" y="1798"/>
                </a:lnTo>
                <a:lnTo>
                  <a:pt x="191" y="1805"/>
                </a:lnTo>
                <a:lnTo>
                  <a:pt x="187" y="1811"/>
                </a:lnTo>
                <a:lnTo>
                  <a:pt x="180" y="1817"/>
                </a:lnTo>
                <a:lnTo>
                  <a:pt x="172" y="1820"/>
                </a:lnTo>
                <a:lnTo>
                  <a:pt x="162" y="1822"/>
                </a:lnTo>
                <a:lnTo>
                  <a:pt x="152" y="1823"/>
                </a:lnTo>
                <a:lnTo>
                  <a:pt x="152" y="1823"/>
                </a:lnTo>
                <a:close/>
                <a:moveTo>
                  <a:pt x="151" y="1685"/>
                </a:moveTo>
                <a:lnTo>
                  <a:pt x="79" y="1685"/>
                </a:lnTo>
                <a:lnTo>
                  <a:pt x="79" y="1620"/>
                </a:lnTo>
                <a:lnTo>
                  <a:pt x="149" y="1620"/>
                </a:lnTo>
                <a:lnTo>
                  <a:pt x="149" y="1620"/>
                </a:lnTo>
                <a:lnTo>
                  <a:pt x="158" y="1621"/>
                </a:lnTo>
                <a:lnTo>
                  <a:pt x="167" y="1622"/>
                </a:lnTo>
                <a:lnTo>
                  <a:pt x="173" y="1624"/>
                </a:lnTo>
                <a:lnTo>
                  <a:pt x="179" y="1628"/>
                </a:lnTo>
                <a:lnTo>
                  <a:pt x="183" y="1633"/>
                </a:lnTo>
                <a:lnTo>
                  <a:pt x="187" y="1639"/>
                </a:lnTo>
                <a:lnTo>
                  <a:pt x="188" y="1645"/>
                </a:lnTo>
                <a:lnTo>
                  <a:pt x="189" y="1653"/>
                </a:lnTo>
                <a:lnTo>
                  <a:pt x="189" y="1653"/>
                </a:lnTo>
                <a:lnTo>
                  <a:pt x="189" y="1659"/>
                </a:lnTo>
                <a:lnTo>
                  <a:pt x="188" y="1664"/>
                </a:lnTo>
                <a:lnTo>
                  <a:pt x="186" y="1670"/>
                </a:lnTo>
                <a:lnTo>
                  <a:pt x="182" y="1674"/>
                </a:lnTo>
                <a:lnTo>
                  <a:pt x="177" y="1679"/>
                </a:lnTo>
                <a:lnTo>
                  <a:pt x="170" y="1682"/>
                </a:lnTo>
                <a:lnTo>
                  <a:pt x="162" y="1684"/>
                </a:lnTo>
                <a:lnTo>
                  <a:pt x="151" y="1685"/>
                </a:lnTo>
                <a:lnTo>
                  <a:pt x="151" y="1685"/>
                </a:lnTo>
                <a:close/>
                <a:moveTo>
                  <a:pt x="298" y="1778"/>
                </a:moveTo>
                <a:lnTo>
                  <a:pt x="298" y="1651"/>
                </a:lnTo>
                <a:lnTo>
                  <a:pt x="353" y="1651"/>
                </a:lnTo>
                <a:lnTo>
                  <a:pt x="353" y="1774"/>
                </a:lnTo>
                <a:lnTo>
                  <a:pt x="353" y="1774"/>
                </a:lnTo>
                <a:lnTo>
                  <a:pt x="353" y="1787"/>
                </a:lnTo>
                <a:lnTo>
                  <a:pt x="356" y="1799"/>
                </a:lnTo>
                <a:lnTo>
                  <a:pt x="359" y="1808"/>
                </a:lnTo>
                <a:lnTo>
                  <a:pt x="363" y="1815"/>
                </a:lnTo>
                <a:lnTo>
                  <a:pt x="369" y="1821"/>
                </a:lnTo>
                <a:lnTo>
                  <a:pt x="376" y="1825"/>
                </a:lnTo>
                <a:lnTo>
                  <a:pt x="385" y="1828"/>
                </a:lnTo>
                <a:lnTo>
                  <a:pt x="395" y="1829"/>
                </a:lnTo>
                <a:lnTo>
                  <a:pt x="395" y="1829"/>
                </a:lnTo>
                <a:lnTo>
                  <a:pt x="405" y="1828"/>
                </a:lnTo>
                <a:lnTo>
                  <a:pt x="412" y="1825"/>
                </a:lnTo>
                <a:lnTo>
                  <a:pt x="420" y="1821"/>
                </a:lnTo>
                <a:lnTo>
                  <a:pt x="426" y="1815"/>
                </a:lnTo>
                <a:lnTo>
                  <a:pt x="430" y="1808"/>
                </a:lnTo>
                <a:lnTo>
                  <a:pt x="433" y="1798"/>
                </a:lnTo>
                <a:lnTo>
                  <a:pt x="436" y="1787"/>
                </a:lnTo>
                <a:lnTo>
                  <a:pt x="436" y="1774"/>
                </a:lnTo>
                <a:lnTo>
                  <a:pt x="436" y="1651"/>
                </a:lnTo>
                <a:lnTo>
                  <a:pt x="491" y="1651"/>
                </a:lnTo>
                <a:lnTo>
                  <a:pt x="491" y="1874"/>
                </a:lnTo>
                <a:lnTo>
                  <a:pt x="436" y="1874"/>
                </a:lnTo>
                <a:lnTo>
                  <a:pt x="436" y="1857"/>
                </a:lnTo>
                <a:lnTo>
                  <a:pt x="436" y="1857"/>
                </a:lnTo>
                <a:lnTo>
                  <a:pt x="431" y="1862"/>
                </a:lnTo>
                <a:lnTo>
                  <a:pt x="425" y="1867"/>
                </a:lnTo>
                <a:lnTo>
                  <a:pt x="419" y="1871"/>
                </a:lnTo>
                <a:lnTo>
                  <a:pt x="412" y="1873"/>
                </a:lnTo>
                <a:lnTo>
                  <a:pt x="406" y="1877"/>
                </a:lnTo>
                <a:lnTo>
                  <a:pt x="398" y="1878"/>
                </a:lnTo>
                <a:lnTo>
                  <a:pt x="390" y="1879"/>
                </a:lnTo>
                <a:lnTo>
                  <a:pt x="382" y="1880"/>
                </a:lnTo>
                <a:lnTo>
                  <a:pt x="382" y="1880"/>
                </a:lnTo>
                <a:lnTo>
                  <a:pt x="369" y="1879"/>
                </a:lnTo>
                <a:lnTo>
                  <a:pt x="358" y="1877"/>
                </a:lnTo>
                <a:lnTo>
                  <a:pt x="348" y="1873"/>
                </a:lnTo>
                <a:lnTo>
                  <a:pt x="338" y="1869"/>
                </a:lnTo>
                <a:lnTo>
                  <a:pt x="330" y="1863"/>
                </a:lnTo>
                <a:lnTo>
                  <a:pt x="323" y="1858"/>
                </a:lnTo>
                <a:lnTo>
                  <a:pt x="318" y="1850"/>
                </a:lnTo>
                <a:lnTo>
                  <a:pt x="312" y="1842"/>
                </a:lnTo>
                <a:lnTo>
                  <a:pt x="309" y="1834"/>
                </a:lnTo>
                <a:lnTo>
                  <a:pt x="306" y="1827"/>
                </a:lnTo>
                <a:lnTo>
                  <a:pt x="301" y="1809"/>
                </a:lnTo>
                <a:lnTo>
                  <a:pt x="299" y="1792"/>
                </a:lnTo>
                <a:lnTo>
                  <a:pt x="298" y="1778"/>
                </a:lnTo>
                <a:lnTo>
                  <a:pt x="298" y="1778"/>
                </a:lnTo>
                <a:close/>
                <a:moveTo>
                  <a:pt x="1143" y="1874"/>
                </a:moveTo>
                <a:lnTo>
                  <a:pt x="1087" y="1874"/>
                </a:lnTo>
                <a:lnTo>
                  <a:pt x="1087" y="1651"/>
                </a:lnTo>
                <a:lnTo>
                  <a:pt x="1143" y="1651"/>
                </a:lnTo>
                <a:lnTo>
                  <a:pt x="1143" y="1670"/>
                </a:lnTo>
                <a:lnTo>
                  <a:pt x="1143" y="1670"/>
                </a:lnTo>
                <a:lnTo>
                  <a:pt x="1148" y="1664"/>
                </a:lnTo>
                <a:lnTo>
                  <a:pt x="1154" y="1659"/>
                </a:lnTo>
                <a:lnTo>
                  <a:pt x="1160" y="1655"/>
                </a:lnTo>
                <a:lnTo>
                  <a:pt x="1167" y="1652"/>
                </a:lnTo>
                <a:lnTo>
                  <a:pt x="1175" y="1649"/>
                </a:lnTo>
                <a:lnTo>
                  <a:pt x="1182" y="1648"/>
                </a:lnTo>
                <a:lnTo>
                  <a:pt x="1190" y="1646"/>
                </a:lnTo>
                <a:lnTo>
                  <a:pt x="1198" y="1645"/>
                </a:lnTo>
                <a:lnTo>
                  <a:pt x="1198" y="1645"/>
                </a:lnTo>
                <a:lnTo>
                  <a:pt x="1208" y="1646"/>
                </a:lnTo>
                <a:lnTo>
                  <a:pt x="1217" y="1648"/>
                </a:lnTo>
                <a:lnTo>
                  <a:pt x="1226" y="1650"/>
                </a:lnTo>
                <a:lnTo>
                  <a:pt x="1234" y="1652"/>
                </a:lnTo>
                <a:lnTo>
                  <a:pt x="1242" y="1655"/>
                </a:lnTo>
                <a:lnTo>
                  <a:pt x="1248" y="1661"/>
                </a:lnTo>
                <a:lnTo>
                  <a:pt x="1254" y="1665"/>
                </a:lnTo>
                <a:lnTo>
                  <a:pt x="1259" y="1672"/>
                </a:lnTo>
                <a:lnTo>
                  <a:pt x="1265" y="1679"/>
                </a:lnTo>
                <a:lnTo>
                  <a:pt x="1268" y="1686"/>
                </a:lnTo>
                <a:lnTo>
                  <a:pt x="1273" y="1694"/>
                </a:lnTo>
                <a:lnTo>
                  <a:pt x="1275" y="1703"/>
                </a:lnTo>
                <a:lnTo>
                  <a:pt x="1277" y="1713"/>
                </a:lnTo>
                <a:lnTo>
                  <a:pt x="1279" y="1724"/>
                </a:lnTo>
                <a:lnTo>
                  <a:pt x="1280" y="1735"/>
                </a:lnTo>
                <a:lnTo>
                  <a:pt x="1280" y="1748"/>
                </a:lnTo>
                <a:lnTo>
                  <a:pt x="1280" y="1874"/>
                </a:lnTo>
                <a:lnTo>
                  <a:pt x="1225" y="1874"/>
                </a:lnTo>
                <a:lnTo>
                  <a:pt x="1225" y="1751"/>
                </a:lnTo>
                <a:lnTo>
                  <a:pt x="1225" y="1751"/>
                </a:lnTo>
                <a:lnTo>
                  <a:pt x="1225" y="1738"/>
                </a:lnTo>
                <a:lnTo>
                  <a:pt x="1223" y="1727"/>
                </a:lnTo>
                <a:lnTo>
                  <a:pt x="1219" y="1718"/>
                </a:lnTo>
                <a:lnTo>
                  <a:pt x="1215" y="1710"/>
                </a:lnTo>
                <a:lnTo>
                  <a:pt x="1209" y="1704"/>
                </a:lnTo>
                <a:lnTo>
                  <a:pt x="1203" y="1700"/>
                </a:lnTo>
                <a:lnTo>
                  <a:pt x="1195" y="1698"/>
                </a:lnTo>
                <a:lnTo>
                  <a:pt x="1185" y="1696"/>
                </a:lnTo>
                <a:lnTo>
                  <a:pt x="1185" y="1696"/>
                </a:lnTo>
                <a:lnTo>
                  <a:pt x="1175" y="1698"/>
                </a:lnTo>
                <a:lnTo>
                  <a:pt x="1166" y="1700"/>
                </a:lnTo>
                <a:lnTo>
                  <a:pt x="1159" y="1704"/>
                </a:lnTo>
                <a:lnTo>
                  <a:pt x="1154" y="1710"/>
                </a:lnTo>
                <a:lnTo>
                  <a:pt x="1148" y="1718"/>
                </a:lnTo>
                <a:lnTo>
                  <a:pt x="1145" y="1728"/>
                </a:lnTo>
                <a:lnTo>
                  <a:pt x="1143" y="1739"/>
                </a:lnTo>
                <a:lnTo>
                  <a:pt x="1143" y="1751"/>
                </a:lnTo>
                <a:lnTo>
                  <a:pt x="1143" y="1874"/>
                </a:lnTo>
                <a:close/>
                <a:moveTo>
                  <a:pt x="597" y="1762"/>
                </a:moveTo>
                <a:lnTo>
                  <a:pt x="597" y="1874"/>
                </a:lnTo>
                <a:lnTo>
                  <a:pt x="541" y="1874"/>
                </a:lnTo>
                <a:lnTo>
                  <a:pt x="541" y="1651"/>
                </a:lnTo>
                <a:lnTo>
                  <a:pt x="597" y="1651"/>
                </a:lnTo>
                <a:lnTo>
                  <a:pt x="597" y="1762"/>
                </a:lnTo>
                <a:close/>
                <a:moveTo>
                  <a:pt x="646" y="1585"/>
                </a:moveTo>
                <a:lnTo>
                  <a:pt x="701" y="1558"/>
                </a:lnTo>
                <a:lnTo>
                  <a:pt x="701" y="1760"/>
                </a:lnTo>
                <a:lnTo>
                  <a:pt x="701" y="1874"/>
                </a:lnTo>
                <a:lnTo>
                  <a:pt x="646" y="1874"/>
                </a:lnTo>
                <a:lnTo>
                  <a:pt x="646" y="1585"/>
                </a:lnTo>
                <a:close/>
                <a:moveTo>
                  <a:pt x="877" y="1666"/>
                </a:moveTo>
                <a:lnTo>
                  <a:pt x="877" y="1666"/>
                </a:lnTo>
                <a:lnTo>
                  <a:pt x="873" y="1661"/>
                </a:lnTo>
                <a:lnTo>
                  <a:pt x="867" y="1658"/>
                </a:lnTo>
                <a:lnTo>
                  <a:pt x="860" y="1653"/>
                </a:lnTo>
                <a:lnTo>
                  <a:pt x="855" y="1651"/>
                </a:lnTo>
                <a:lnTo>
                  <a:pt x="848" y="1649"/>
                </a:lnTo>
                <a:lnTo>
                  <a:pt x="841" y="1646"/>
                </a:lnTo>
                <a:lnTo>
                  <a:pt x="828" y="1645"/>
                </a:lnTo>
                <a:lnTo>
                  <a:pt x="828" y="1645"/>
                </a:lnTo>
                <a:lnTo>
                  <a:pt x="818" y="1646"/>
                </a:lnTo>
                <a:lnTo>
                  <a:pt x="808" y="1648"/>
                </a:lnTo>
                <a:lnTo>
                  <a:pt x="799" y="1650"/>
                </a:lnTo>
                <a:lnTo>
                  <a:pt x="791" y="1653"/>
                </a:lnTo>
                <a:lnTo>
                  <a:pt x="784" y="1658"/>
                </a:lnTo>
                <a:lnTo>
                  <a:pt x="776" y="1663"/>
                </a:lnTo>
                <a:lnTo>
                  <a:pt x="769" y="1670"/>
                </a:lnTo>
                <a:lnTo>
                  <a:pt x="764" y="1676"/>
                </a:lnTo>
                <a:lnTo>
                  <a:pt x="758" y="1684"/>
                </a:lnTo>
                <a:lnTo>
                  <a:pt x="754" y="1693"/>
                </a:lnTo>
                <a:lnTo>
                  <a:pt x="749" y="1702"/>
                </a:lnTo>
                <a:lnTo>
                  <a:pt x="746" y="1712"/>
                </a:lnTo>
                <a:lnTo>
                  <a:pt x="744" y="1723"/>
                </a:lnTo>
                <a:lnTo>
                  <a:pt x="741" y="1735"/>
                </a:lnTo>
                <a:lnTo>
                  <a:pt x="740" y="1748"/>
                </a:lnTo>
                <a:lnTo>
                  <a:pt x="740" y="1760"/>
                </a:lnTo>
                <a:lnTo>
                  <a:pt x="740" y="1760"/>
                </a:lnTo>
                <a:lnTo>
                  <a:pt x="740" y="1774"/>
                </a:lnTo>
                <a:lnTo>
                  <a:pt x="741" y="1787"/>
                </a:lnTo>
                <a:lnTo>
                  <a:pt x="744" y="1799"/>
                </a:lnTo>
                <a:lnTo>
                  <a:pt x="746" y="1810"/>
                </a:lnTo>
                <a:lnTo>
                  <a:pt x="749" y="1821"/>
                </a:lnTo>
                <a:lnTo>
                  <a:pt x="752" y="1831"/>
                </a:lnTo>
                <a:lnTo>
                  <a:pt x="757" y="1840"/>
                </a:lnTo>
                <a:lnTo>
                  <a:pt x="762" y="1848"/>
                </a:lnTo>
                <a:lnTo>
                  <a:pt x="769" y="1856"/>
                </a:lnTo>
                <a:lnTo>
                  <a:pt x="775" y="1861"/>
                </a:lnTo>
                <a:lnTo>
                  <a:pt x="783" y="1867"/>
                </a:lnTo>
                <a:lnTo>
                  <a:pt x="790" y="1871"/>
                </a:lnTo>
                <a:lnTo>
                  <a:pt x="798" y="1874"/>
                </a:lnTo>
                <a:lnTo>
                  <a:pt x="807" y="1878"/>
                </a:lnTo>
                <a:lnTo>
                  <a:pt x="817" y="1879"/>
                </a:lnTo>
                <a:lnTo>
                  <a:pt x="827" y="1880"/>
                </a:lnTo>
                <a:lnTo>
                  <a:pt x="827" y="1880"/>
                </a:lnTo>
                <a:lnTo>
                  <a:pt x="834" y="1879"/>
                </a:lnTo>
                <a:lnTo>
                  <a:pt x="840" y="1878"/>
                </a:lnTo>
                <a:lnTo>
                  <a:pt x="847" y="1877"/>
                </a:lnTo>
                <a:lnTo>
                  <a:pt x="854" y="1874"/>
                </a:lnTo>
                <a:lnTo>
                  <a:pt x="859" y="1871"/>
                </a:lnTo>
                <a:lnTo>
                  <a:pt x="866" y="1868"/>
                </a:lnTo>
                <a:lnTo>
                  <a:pt x="871" y="1863"/>
                </a:lnTo>
                <a:lnTo>
                  <a:pt x="877" y="1858"/>
                </a:lnTo>
                <a:lnTo>
                  <a:pt x="877" y="1874"/>
                </a:lnTo>
                <a:lnTo>
                  <a:pt x="933" y="1874"/>
                </a:lnTo>
                <a:lnTo>
                  <a:pt x="933" y="1558"/>
                </a:lnTo>
                <a:lnTo>
                  <a:pt x="877" y="1585"/>
                </a:lnTo>
                <a:lnTo>
                  <a:pt x="877" y="1666"/>
                </a:lnTo>
                <a:close/>
                <a:moveTo>
                  <a:pt x="838" y="1829"/>
                </a:moveTo>
                <a:lnTo>
                  <a:pt x="838" y="1829"/>
                </a:lnTo>
                <a:lnTo>
                  <a:pt x="831" y="1828"/>
                </a:lnTo>
                <a:lnTo>
                  <a:pt x="824" y="1825"/>
                </a:lnTo>
                <a:lnTo>
                  <a:pt x="817" y="1822"/>
                </a:lnTo>
                <a:lnTo>
                  <a:pt x="810" y="1815"/>
                </a:lnTo>
                <a:lnTo>
                  <a:pt x="805" y="1807"/>
                </a:lnTo>
                <a:lnTo>
                  <a:pt x="800" y="1794"/>
                </a:lnTo>
                <a:lnTo>
                  <a:pt x="797" y="1779"/>
                </a:lnTo>
                <a:lnTo>
                  <a:pt x="796" y="1759"/>
                </a:lnTo>
                <a:lnTo>
                  <a:pt x="796" y="1759"/>
                </a:lnTo>
                <a:lnTo>
                  <a:pt x="797" y="1741"/>
                </a:lnTo>
                <a:lnTo>
                  <a:pt x="800" y="1728"/>
                </a:lnTo>
                <a:lnTo>
                  <a:pt x="805" y="1717"/>
                </a:lnTo>
                <a:lnTo>
                  <a:pt x="810" y="1709"/>
                </a:lnTo>
                <a:lnTo>
                  <a:pt x="816" y="1702"/>
                </a:lnTo>
                <a:lnTo>
                  <a:pt x="824" y="1699"/>
                </a:lnTo>
                <a:lnTo>
                  <a:pt x="830" y="1696"/>
                </a:lnTo>
                <a:lnTo>
                  <a:pt x="838" y="1696"/>
                </a:lnTo>
                <a:lnTo>
                  <a:pt x="838" y="1696"/>
                </a:lnTo>
                <a:lnTo>
                  <a:pt x="845" y="1696"/>
                </a:lnTo>
                <a:lnTo>
                  <a:pt x="851" y="1699"/>
                </a:lnTo>
                <a:lnTo>
                  <a:pt x="858" y="1701"/>
                </a:lnTo>
                <a:lnTo>
                  <a:pt x="863" y="1704"/>
                </a:lnTo>
                <a:lnTo>
                  <a:pt x="867" y="1708"/>
                </a:lnTo>
                <a:lnTo>
                  <a:pt x="871" y="1711"/>
                </a:lnTo>
                <a:lnTo>
                  <a:pt x="877" y="1719"/>
                </a:lnTo>
                <a:lnTo>
                  <a:pt x="877" y="1807"/>
                </a:lnTo>
                <a:lnTo>
                  <a:pt x="877" y="1807"/>
                </a:lnTo>
                <a:lnTo>
                  <a:pt x="870" y="1814"/>
                </a:lnTo>
                <a:lnTo>
                  <a:pt x="863" y="1821"/>
                </a:lnTo>
                <a:lnTo>
                  <a:pt x="858" y="1824"/>
                </a:lnTo>
                <a:lnTo>
                  <a:pt x="851" y="1827"/>
                </a:lnTo>
                <a:lnTo>
                  <a:pt x="846" y="1828"/>
                </a:lnTo>
                <a:lnTo>
                  <a:pt x="838" y="1829"/>
                </a:lnTo>
                <a:lnTo>
                  <a:pt x="838" y="1829"/>
                </a:lnTo>
                <a:close/>
                <a:moveTo>
                  <a:pt x="2084" y="1645"/>
                </a:moveTo>
                <a:lnTo>
                  <a:pt x="2084" y="1645"/>
                </a:lnTo>
                <a:lnTo>
                  <a:pt x="2079" y="1646"/>
                </a:lnTo>
                <a:lnTo>
                  <a:pt x="2072" y="1648"/>
                </a:lnTo>
                <a:lnTo>
                  <a:pt x="2059" y="1651"/>
                </a:lnTo>
                <a:lnTo>
                  <a:pt x="2046" y="1658"/>
                </a:lnTo>
                <a:lnTo>
                  <a:pt x="2035" y="1666"/>
                </a:lnTo>
                <a:lnTo>
                  <a:pt x="2035" y="1563"/>
                </a:lnTo>
                <a:lnTo>
                  <a:pt x="1980" y="1591"/>
                </a:lnTo>
                <a:lnTo>
                  <a:pt x="1980" y="1874"/>
                </a:lnTo>
                <a:lnTo>
                  <a:pt x="2035" y="1874"/>
                </a:lnTo>
                <a:lnTo>
                  <a:pt x="2035" y="1858"/>
                </a:lnTo>
                <a:lnTo>
                  <a:pt x="2035" y="1858"/>
                </a:lnTo>
                <a:lnTo>
                  <a:pt x="2040" y="1863"/>
                </a:lnTo>
                <a:lnTo>
                  <a:pt x="2046" y="1868"/>
                </a:lnTo>
                <a:lnTo>
                  <a:pt x="2052" y="1871"/>
                </a:lnTo>
                <a:lnTo>
                  <a:pt x="2059" y="1874"/>
                </a:lnTo>
                <a:lnTo>
                  <a:pt x="2064" y="1877"/>
                </a:lnTo>
                <a:lnTo>
                  <a:pt x="2072" y="1878"/>
                </a:lnTo>
                <a:lnTo>
                  <a:pt x="2079" y="1879"/>
                </a:lnTo>
                <a:lnTo>
                  <a:pt x="2085" y="1880"/>
                </a:lnTo>
                <a:lnTo>
                  <a:pt x="2085" y="1880"/>
                </a:lnTo>
                <a:lnTo>
                  <a:pt x="2095" y="1879"/>
                </a:lnTo>
                <a:lnTo>
                  <a:pt x="2105" y="1878"/>
                </a:lnTo>
                <a:lnTo>
                  <a:pt x="2114" y="1876"/>
                </a:lnTo>
                <a:lnTo>
                  <a:pt x="2123" y="1871"/>
                </a:lnTo>
                <a:lnTo>
                  <a:pt x="2131" y="1867"/>
                </a:lnTo>
                <a:lnTo>
                  <a:pt x="2137" y="1862"/>
                </a:lnTo>
                <a:lnTo>
                  <a:pt x="2144" y="1856"/>
                </a:lnTo>
                <a:lnTo>
                  <a:pt x="2150" y="1849"/>
                </a:lnTo>
                <a:lnTo>
                  <a:pt x="2155" y="1840"/>
                </a:lnTo>
                <a:lnTo>
                  <a:pt x="2160" y="1831"/>
                </a:lnTo>
                <a:lnTo>
                  <a:pt x="2163" y="1821"/>
                </a:lnTo>
                <a:lnTo>
                  <a:pt x="2166" y="1811"/>
                </a:lnTo>
                <a:lnTo>
                  <a:pt x="2170" y="1800"/>
                </a:lnTo>
                <a:lnTo>
                  <a:pt x="2171" y="1788"/>
                </a:lnTo>
                <a:lnTo>
                  <a:pt x="2172" y="1774"/>
                </a:lnTo>
                <a:lnTo>
                  <a:pt x="2173" y="1760"/>
                </a:lnTo>
                <a:lnTo>
                  <a:pt x="2173" y="1760"/>
                </a:lnTo>
                <a:lnTo>
                  <a:pt x="2172" y="1748"/>
                </a:lnTo>
                <a:lnTo>
                  <a:pt x="2171" y="1735"/>
                </a:lnTo>
                <a:lnTo>
                  <a:pt x="2169" y="1723"/>
                </a:lnTo>
                <a:lnTo>
                  <a:pt x="2166" y="1712"/>
                </a:lnTo>
                <a:lnTo>
                  <a:pt x="2163" y="1702"/>
                </a:lnTo>
                <a:lnTo>
                  <a:pt x="2159" y="1693"/>
                </a:lnTo>
                <a:lnTo>
                  <a:pt x="2154" y="1684"/>
                </a:lnTo>
                <a:lnTo>
                  <a:pt x="2149" y="1676"/>
                </a:lnTo>
                <a:lnTo>
                  <a:pt x="2143" y="1670"/>
                </a:lnTo>
                <a:lnTo>
                  <a:pt x="2136" y="1663"/>
                </a:lnTo>
                <a:lnTo>
                  <a:pt x="2129" y="1658"/>
                </a:lnTo>
                <a:lnTo>
                  <a:pt x="2121" y="1653"/>
                </a:lnTo>
                <a:lnTo>
                  <a:pt x="2113" y="1650"/>
                </a:lnTo>
                <a:lnTo>
                  <a:pt x="2104" y="1648"/>
                </a:lnTo>
                <a:lnTo>
                  <a:pt x="2094" y="1646"/>
                </a:lnTo>
                <a:lnTo>
                  <a:pt x="2084" y="1645"/>
                </a:lnTo>
                <a:lnTo>
                  <a:pt x="2084" y="1645"/>
                </a:lnTo>
                <a:close/>
                <a:moveTo>
                  <a:pt x="2074" y="1696"/>
                </a:moveTo>
                <a:lnTo>
                  <a:pt x="2074" y="1696"/>
                </a:lnTo>
                <a:lnTo>
                  <a:pt x="2082" y="1698"/>
                </a:lnTo>
                <a:lnTo>
                  <a:pt x="2090" y="1700"/>
                </a:lnTo>
                <a:lnTo>
                  <a:pt x="2096" y="1704"/>
                </a:lnTo>
                <a:lnTo>
                  <a:pt x="2103" y="1711"/>
                </a:lnTo>
                <a:lnTo>
                  <a:pt x="2109" y="1719"/>
                </a:lnTo>
                <a:lnTo>
                  <a:pt x="2112" y="1730"/>
                </a:lnTo>
                <a:lnTo>
                  <a:pt x="2115" y="1743"/>
                </a:lnTo>
                <a:lnTo>
                  <a:pt x="2116" y="1759"/>
                </a:lnTo>
                <a:lnTo>
                  <a:pt x="2116" y="1759"/>
                </a:lnTo>
                <a:lnTo>
                  <a:pt x="2115" y="1775"/>
                </a:lnTo>
                <a:lnTo>
                  <a:pt x="2113" y="1790"/>
                </a:lnTo>
                <a:lnTo>
                  <a:pt x="2111" y="1801"/>
                </a:lnTo>
                <a:lnTo>
                  <a:pt x="2106" y="1811"/>
                </a:lnTo>
                <a:lnTo>
                  <a:pt x="2100" y="1819"/>
                </a:lnTo>
                <a:lnTo>
                  <a:pt x="2093" y="1824"/>
                </a:lnTo>
                <a:lnTo>
                  <a:pt x="2085" y="1828"/>
                </a:lnTo>
                <a:lnTo>
                  <a:pt x="2075" y="1829"/>
                </a:lnTo>
                <a:lnTo>
                  <a:pt x="2075" y="1829"/>
                </a:lnTo>
                <a:lnTo>
                  <a:pt x="2067" y="1828"/>
                </a:lnTo>
                <a:lnTo>
                  <a:pt x="2061" y="1827"/>
                </a:lnTo>
                <a:lnTo>
                  <a:pt x="2055" y="1823"/>
                </a:lnTo>
                <a:lnTo>
                  <a:pt x="2050" y="1821"/>
                </a:lnTo>
                <a:lnTo>
                  <a:pt x="2041" y="1813"/>
                </a:lnTo>
                <a:lnTo>
                  <a:pt x="2035" y="1808"/>
                </a:lnTo>
                <a:lnTo>
                  <a:pt x="2035" y="1719"/>
                </a:lnTo>
                <a:lnTo>
                  <a:pt x="2035" y="1719"/>
                </a:lnTo>
                <a:lnTo>
                  <a:pt x="2039" y="1714"/>
                </a:lnTo>
                <a:lnTo>
                  <a:pt x="2043" y="1710"/>
                </a:lnTo>
                <a:lnTo>
                  <a:pt x="2047" y="1705"/>
                </a:lnTo>
                <a:lnTo>
                  <a:pt x="2052" y="1702"/>
                </a:lnTo>
                <a:lnTo>
                  <a:pt x="2057" y="1700"/>
                </a:lnTo>
                <a:lnTo>
                  <a:pt x="2063" y="1698"/>
                </a:lnTo>
                <a:lnTo>
                  <a:pt x="2069" y="1696"/>
                </a:lnTo>
                <a:lnTo>
                  <a:pt x="2074" y="1696"/>
                </a:lnTo>
                <a:lnTo>
                  <a:pt x="2074" y="1696"/>
                </a:lnTo>
                <a:close/>
                <a:moveTo>
                  <a:pt x="1455" y="1666"/>
                </a:moveTo>
                <a:lnTo>
                  <a:pt x="1455" y="1666"/>
                </a:lnTo>
                <a:lnTo>
                  <a:pt x="1451" y="1662"/>
                </a:lnTo>
                <a:lnTo>
                  <a:pt x="1445" y="1658"/>
                </a:lnTo>
                <a:lnTo>
                  <a:pt x="1438" y="1654"/>
                </a:lnTo>
                <a:lnTo>
                  <a:pt x="1433" y="1651"/>
                </a:lnTo>
                <a:lnTo>
                  <a:pt x="1426" y="1649"/>
                </a:lnTo>
                <a:lnTo>
                  <a:pt x="1419" y="1646"/>
                </a:lnTo>
                <a:lnTo>
                  <a:pt x="1413" y="1646"/>
                </a:lnTo>
                <a:lnTo>
                  <a:pt x="1406" y="1645"/>
                </a:lnTo>
                <a:lnTo>
                  <a:pt x="1406" y="1645"/>
                </a:lnTo>
                <a:lnTo>
                  <a:pt x="1396" y="1646"/>
                </a:lnTo>
                <a:lnTo>
                  <a:pt x="1386" y="1648"/>
                </a:lnTo>
                <a:lnTo>
                  <a:pt x="1377" y="1650"/>
                </a:lnTo>
                <a:lnTo>
                  <a:pt x="1369" y="1653"/>
                </a:lnTo>
                <a:lnTo>
                  <a:pt x="1362" y="1658"/>
                </a:lnTo>
                <a:lnTo>
                  <a:pt x="1354" y="1663"/>
                </a:lnTo>
                <a:lnTo>
                  <a:pt x="1347" y="1670"/>
                </a:lnTo>
                <a:lnTo>
                  <a:pt x="1342" y="1676"/>
                </a:lnTo>
                <a:lnTo>
                  <a:pt x="1336" y="1684"/>
                </a:lnTo>
                <a:lnTo>
                  <a:pt x="1332" y="1693"/>
                </a:lnTo>
                <a:lnTo>
                  <a:pt x="1327" y="1702"/>
                </a:lnTo>
                <a:lnTo>
                  <a:pt x="1324" y="1712"/>
                </a:lnTo>
                <a:lnTo>
                  <a:pt x="1322" y="1723"/>
                </a:lnTo>
                <a:lnTo>
                  <a:pt x="1319" y="1735"/>
                </a:lnTo>
                <a:lnTo>
                  <a:pt x="1318" y="1748"/>
                </a:lnTo>
                <a:lnTo>
                  <a:pt x="1318" y="1760"/>
                </a:lnTo>
                <a:lnTo>
                  <a:pt x="1318" y="1760"/>
                </a:lnTo>
                <a:lnTo>
                  <a:pt x="1318" y="1774"/>
                </a:lnTo>
                <a:lnTo>
                  <a:pt x="1319" y="1787"/>
                </a:lnTo>
                <a:lnTo>
                  <a:pt x="1322" y="1799"/>
                </a:lnTo>
                <a:lnTo>
                  <a:pt x="1324" y="1810"/>
                </a:lnTo>
                <a:lnTo>
                  <a:pt x="1327" y="1821"/>
                </a:lnTo>
                <a:lnTo>
                  <a:pt x="1330" y="1831"/>
                </a:lnTo>
                <a:lnTo>
                  <a:pt x="1336" y="1840"/>
                </a:lnTo>
                <a:lnTo>
                  <a:pt x="1340" y="1848"/>
                </a:lnTo>
                <a:lnTo>
                  <a:pt x="1347" y="1856"/>
                </a:lnTo>
                <a:lnTo>
                  <a:pt x="1353" y="1861"/>
                </a:lnTo>
                <a:lnTo>
                  <a:pt x="1360" y="1867"/>
                </a:lnTo>
                <a:lnTo>
                  <a:pt x="1368" y="1871"/>
                </a:lnTo>
                <a:lnTo>
                  <a:pt x="1376" y="1874"/>
                </a:lnTo>
                <a:lnTo>
                  <a:pt x="1385" y="1878"/>
                </a:lnTo>
                <a:lnTo>
                  <a:pt x="1395" y="1879"/>
                </a:lnTo>
                <a:lnTo>
                  <a:pt x="1405" y="1879"/>
                </a:lnTo>
                <a:lnTo>
                  <a:pt x="1405" y="1879"/>
                </a:lnTo>
                <a:lnTo>
                  <a:pt x="1412" y="1879"/>
                </a:lnTo>
                <a:lnTo>
                  <a:pt x="1418" y="1878"/>
                </a:lnTo>
                <a:lnTo>
                  <a:pt x="1425" y="1877"/>
                </a:lnTo>
                <a:lnTo>
                  <a:pt x="1432" y="1874"/>
                </a:lnTo>
                <a:lnTo>
                  <a:pt x="1438" y="1871"/>
                </a:lnTo>
                <a:lnTo>
                  <a:pt x="1444" y="1867"/>
                </a:lnTo>
                <a:lnTo>
                  <a:pt x="1449" y="1863"/>
                </a:lnTo>
                <a:lnTo>
                  <a:pt x="1455" y="1858"/>
                </a:lnTo>
                <a:lnTo>
                  <a:pt x="1455" y="1863"/>
                </a:lnTo>
                <a:lnTo>
                  <a:pt x="1455" y="1863"/>
                </a:lnTo>
                <a:lnTo>
                  <a:pt x="1455" y="1872"/>
                </a:lnTo>
                <a:lnTo>
                  <a:pt x="1454" y="1882"/>
                </a:lnTo>
                <a:lnTo>
                  <a:pt x="1452" y="1892"/>
                </a:lnTo>
                <a:lnTo>
                  <a:pt x="1449" y="1897"/>
                </a:lnTo>
                <a:lnTo>
                  <a:pt x="1446" y="1901"/>
                </a:lnTo>
                <a:lnTo>
                  <a:pt x="1443" y="1906"/>
                </a:lnTo>
                <a:lnTo>
                  <a:pt x="1438" y="1910"/>
                </a:lnTo>
                <a:lnTo>
                  <a:pt x="1432" y="1913"/>
                </a:lnTo>
                <a:lnTo>
                  <a:pt x="1425" y="1916"/>
                </a:lnTo>
                <a:lnTo>
                  <a:pt x="1417" y="1919"/>
                </a:lnTo>
                <a:lnTo>
                  <a:pt x="1407" y="1920"/>
                </a:lnTo>
                <a:lnTo>
                  <a:pt x="1396" y="1922"/>
                </a:lnTo>
                <a:lnTo>
                  <a:pt x="1384" y="1922"/>
                </a:lnTo>
                <a:lnTo>
                  <a:pt x="1382" y="1922"/>
                </a:lnTo>
                <a:lnTo>
                  <a:pt x="1401" y="1966"/>
                </a:lnTo>
                <a:lnTo>
                  <a:pt x="1402" y="1966"/>
                </a:lnTo>
                <a:lnTo>
                  <a:pt x="1402" y="1966"/>
                </a:lnTo>
                <a:lnTo>
                  <a:pt x="1415" y="1966"/>
                </a:lnTo>
                <a:lnTo>
                  <a:pt x="1427" y="1963"/>
                </a:lnTo>
                <a:lnTo>
                  <a:pt x="1439" y="1961"/>
                </a:lnTo>
                <a:lnTo>
                  <a:pt x="1449" y="1958"/>
                </a:lnTo>
                <a:lnTo>
                  <a:pt x="1459" y="1954"/>
                </a:lnTo>
                <a:lnTo>
                  <a:pt x="1468" y="1950"/>
                </a:lnTo>
                <a:lnTo>
                  <a:pt x="1476" y="1943"/>
                </a:lnTo>
                <a:lnTo>
                  <a:pt x="1484" y="1938"/>
                </a:lnTo>
                <a:lnTo>
                  <a:pt x="1491" y="1930"/>
                </a:lnTo>
                <a:lnTo>
                  <a:pt x="1495" y="1921"/>
                </a:lnTo>
                <a:lnTo>
                  <a:pt x="1501" y="1912"/>
                </a:lnTo>
                <a:lnTo>
                  <a:pt x="1504" y="1902"/>
                </a:lnTo>
                <a:lnTo>
                  <a:pt x="1507" y="1891"/>
                </a:lnTo>
                <a:lnTo>
                  <a:pt x="1509" y="1880"/>
                </a:lnTo>
                <a:lnTo>
                  <a:pt x="1511" y="1868"/>
                </a:lnTo>
                <a:lnTo>
                  <a:pt x="1511" y="1853"/>
                </a:lnTo>
                <a:lnTo>
                  <a:pt x="1511" y="1651"/>
                </a:lnTo>
                <a:lnTo>
                  <a:pt x="1455" y="1651"/>
                </a:lnTo>
                <a:lnTo>
                  <a:pt x="1455" y="1666"/>
                </a:lnTo>
                <a:close/>
                <a:moveTo>
                  <a:pt x="1455" y="1719"/>
                </a:moveTo>
                <a:lnTo>
                  <a:pt x="1455" y="1807"/>
                </a:lnTo>
                <a:lnTo>
                  <a:pt x="1455" y="1807"/>
                </a:lnTo>
                <a:lnTo>
                  <a:pt x="1448" y="1814"/>
                </a:lnTo>
                <a:lnTo>
                  <a:pt x="1439" y="1822"/>
                </a:lnTo>
                <a:lnTo>
                  <a:pt x="1435" y="1824"/>
                </a:lnTo>
                <a:lnTo>
                  <a:pt x="1429" y="1827"/>
                </a:lnTo>
                <a:lnTo>
                  <a:pt x="1423" y="1828"/>
                </a:lnTo>
                <a:lnTo>
                  <a:pt x="1416" y="1829"/>
                </a:lnTo>
                <a:lnTo>
                  <a:pt x="1416" y="1829"/>
                </a:lnTo>
                <a:lnTo>
                  <a:pt x="1408" y="1828"/>
                </a:lnTo>
                <a:lnTo>
                  <a:pt x="1402" y="1825"/>
                </a:lnTo>
                <a:lnTo>
                  <a:pt x="1394" y="1821"/>
                </a:lnTo>
                <a:lnTo>
                  <a:pt x="1388" y="1815"/>
                </a:lnTo>
                <a:lnTo>
                  <a:pt x="1383" y="1807"/>
                </a:lnTo>
                <a:lnTo>
                  <a:pt x="1378" y="1794"/>
                </a:lnTo>
                <a:lnTo>
                  <a:pt x="1375" y="1779"/>
                </a:lnTo>
                <a:lnTo>
                  <a:pt x="1374" y="1759"/>
                </a:lnTo>
                <a:lnTo>
                  <a:pt x="1374" y="1759"/>
                </a:lnTo>
                <a:lnTo>
                  <a:pt x="1375" y="1741"/>
                </a:lnTo>
                <a:lnTo>
                  <a:pt x="1378" y="1728"/>
                </a:lnTo>
                <a:lnTo>
                  <a:pt x="1383" y="1717"/>
                </a:lnTo>
                <a:lnTo>
                  <a:pt x="1388" y="1709"/>
                </a:lnTo>
                <a:lnTo>
                  <a:pt x="1394" y="1702"/>
                </a:lnTo>
                <a:lnTo>
                  <a:pt x="1402" y="1699"/>
                </a:lnTo>
                <a:lnTo>
                  <a:pt x="1408" y="1696"/>
                </a:lnTo>
                <a:lnTo>
                  <a:pt x="1416" y="1696"/>
                </a:lnTo>
                <a:lnTo>
                  <a:pt x="1416" y="1696"/>
                </a:lnTo>
                <a:lnTo>
                  <a:pt x="1423" y="1696"/>
                </a:lnTo>
                <a:lnTo>
                  <a:pt x="1429" y="1699"/>
                </a:lnTo>
                <a:lnTo>
                  <a:pt x="1436" y="1701"/>
                </a:lnTo>
                <a:lnTo>
                  <a:pt x="1441" y="1703"/>
                </a:lnTo>
                <a:lnTo>
                  <a:pt x="1445" y="1708"/>
                </a:lnTo>
                <a:lnTo>
                  <a:pt x="1449" y="1711"/>
                </a:lnTo>
                <a:lnTo>
                  <a:pt x="1455" y="1719"/>
                </a:lnTo>
                <a:lnTo>
                  <a:pt x="1455" y="1719"/>
                </a:lnTo>
                <a:close/>
                <a:moveTo>
                  <a:pt x="1683" y="1705"/>
                </a:moveTo>
                <a:lnTo>
                  <a:pt x="1683" y="1705"/>
                </a:lnTo>
                <a:lnTo>
                  <a:pt x="1696" y="1699"/>
                </a:lnTo>
                <a:lnTo>
                  <a:pt x="1709" y="1694"/>
                </a:lnTo>
                <a:lnTo>
                  <a:pt x="1724" y="1691"/>
                </a:lnTo>
                <a:lnTo>
                  <a:pt x="1740" y="1690"/>
                </a:lnTo>
                <a:lnTo>
                  <a:pt x="1740" y="1690"/>
                </a:lnTo>
                <a:lnTo>
                  <a:pt x="1750" y="1691"/>
                </a:lnTo>
                <a:lnTo>
                  <a:pt x="1757" y="1692"/>
                </a:lnTo>
                <a:lnTo>
                  <a:pt x="1764" y="1694"/>
                </a:lnTo>
                <a:lnTo>
                  <a:pt x="1770" y="1699"/>
                </a:lnTo>
                <a:lnTo>
                  <a:pt x="1774" y="1703"/>
                </a:lnTo>
                <a:lnTo>
                  <a:pt x="1777" y="1709"/>
                </a:lnTo>
                <a:lnTo>
                  <a:pt x="1780" y="1714"/>
                </a:lnTo>
                <a:lnTo>
                  <a:pt x="1780" y="1722"/>
                </a:lnTo>
                <a:lnTo>
                  <a:pt x="1780" y="1738"/>
                </a:lnTo>
                <a:lnTo>
                  <a:pt x="1780" y="1738"/>
                </a:lnTo>
                <a:lnTo>
                  <a:pt x="1770" y="1733"/>
                </a:lnTo>
                <a:lnTo>
                  <a:pt x="1757" y="1730"/>
                </a:lnTo>
                <a:lnTo>
                  <a:pt x="1745" y="1728"/>
                </a:lnTo>
                <a:lnTo>
                  <a:pt x="1732" y="1727"/>
                </a:lnTo>
                <a:lnTo>
                  <a:pt x="1732" y="1727"/>
                </a:lnTo>
                <a:lnTo>
                  <a:pt x="1716" y="1728"/>
                </a:lnTo>
                <a:lnTo>
                  <a:pt x="1701" y="1731"/>
                </a:lnTo>
                <a:lnTo>
                  <a:pt x="1686" y="1735"/>
                </a:lnTo>
                <a:lnTo>
                  <a:pt x="1678" y="1739"/>
                </a:lnTo>
                <a:lnTo>
                  <a:pt x="1672" y="1743"/>
                </a:lnTo>
                <a:lnTo>
                  <a:pt x="1666" y="1748"/>
                </a:lnTo>
                <a:lnTo>
                  <a:pt x="1661" y="1753"/>
                </a:lnTo>
                <a:lnTo>
                  <a:pt x="1655" y="1759"/>
                </a:lnTo>
                <a:lnTo>
                  <a:pt x="1651" y="1765"/>
                </a:lnTo>
                <a:lnTo>
                  <a:pt x="1647" y="1773"/>
                </a:lnTo>
                <a:lnTo>
                  <a:pt x="1645" y="1782"/>
                </a:lnTo>
                <a:lnTo>
                  <a:pt x="1644" y="1791"/>
                </a:lnTo>
                <a:lnTo>
                  <a:pt x="1643" y="1800"/>
                </a:lnTo>
                <a:lnTo>
                  <a:pt x="1643" y="1800"/>
                </a:lnTo>
                <a:lnTo>
                  <a:pt x="1644" y="1811"/>
                </a:lnTo>
                <a:lnTo>
                  <a:pt x="1645" y="1821"/>
                </a:lnTo>
                <a:lnTo>
                  <a:pt x="1647" y="1829"/>
                </a:lnTo>
                <a:lnTo>
                  <a:pt x="1651" y="1838"/>
                </a:lnTo>
                <a:lnTo>
                  <a:pt x="1654" y="1844"/>
                </a:lnTo>
                <a:lnTo>
                  <a:pt x="1659" y="1851"/>
                </a:lnTo>
                <a:lnTo>
                  <a:pt x="1664" y="1857"/>
                </a:lnTo>
                <a:lnTo>
                  <a:pt x="1671" y="1862"/>
                </a:lnTo>
                <a:lnTo>
                  <a:pt x="1676" y="1867"/>
                </a:lnTo>
                <a:lnTo>
                  <a:pt x="1683" y="1870"/>
                </a:lnTo>
                <a:lnTo>
                  <a:pt x="1697" y="1876"/>
                </a:lnTo>
                <a:lnTo>
                  <a:pt x="1712" y="1879"/>
                </a:lnTo>
                <a:lnTo>
                  <a:pt x="1726" y="1880"/>
                </a:lnTo>
                <a:lnTo>
                  <a:pt x="1726" y="1880"/>
                </a:lnTo>
                <a:lnTo>
                  <a:pt x="1738" y="1878"/>
                </a:lnTo>
                <a:lnTo>
                  <a:pt x="1746" y="1877"/>
                </a:lnTo>
                <a:lnTo>
                  <a:pt x="1753" y="1874"/>
                </a:lnTo>
                <a:lnTo>
                  <a:pt x="1761" y="1871"/>
                </a:lnTo>
                <a:lnTo>
                  <a:pt x="1767" y="1867"/>
                </a:lnTo>
                <a:lnTo>
                  <a:pt x="1774" y="1862"/>
                </a:lnTo>
                <a:lnTo>
                  <a:pt x="1780" y="1857"/>
                </a:lnTo>
                <a:lnTo>
                  <a:pt x="1780" y="1874"/>
                </a:lnTo>
                <a:lnTo>
                  <a:pt x="1835" y="1874"/>
                </a:lnTo>
                <a:lnTo>
                  <a:pt x="1835" y="1723"/>
                </a:lnTo>
                <a:lnTo>
                  <a:pt x="1835" y="1723"/>
                </a:lnTo>
                <a:lnTo>
                  <a:pt x="1835" y="1714"/>
                </a:lnTo>
                <a:lnTo>
                  <a:pt x="1834" y="1707"/>
                </a:lnTo>
                <a:lnTo>
                  <a:pt x="1832" y="1699"/>
                </a:lnTo>
                <a:lnTo>
                  <a:pt x="1830" y="1691"/>
                </a:lnTo>
                <a:lnTo>
                  <a:pt x="1825" y="1684"/>
                </a:lnTo>
                <a:lnTo>
                  <a:pt x="1822" y="1678"/>
                </a:lnTo>
                <a:lnTo>
                  <a:pt x="1816" y="1672"/>
                </a:lnTo>
                <a:lnTo>
                  <a:pt x="1811" y="1666"/>
                </a:lnTo>
                <a:lnTo>
                  <a:pt x="1805" y="1662"/>
                </a:lnTo>
                <a:lnTo>
                  <a:pt x="1798" y="1658"/>
                </a:lnTo>
                <a:lnTo>
                  <a:pt x="1791" y="1654"/>
                </a:lnTo>
                <a:lnTo>
                  <a:pt x="1783" y="1651"/>
                </a:lnTo>
                <a:lnTo>
                  <a:pt x="1774" y="1649"/>
                </a:lnTo>
                <a:lnTo>
                  <a:pt x="1765" y="1648"/>
                </a:lnTo>
                <a:lnTo>
                  <a:pt x="1755" y="1646"/>
                </a:lnTo>
                <a:lnTo>
                  <a:pt x="1745" y="1645"/>
                </a:lnTo>
                <a:lnTo>
                  <a:pt x="1745" y="1645"/>
                </a:lnTo>
                <a:lnTo>
                  <a:pt x="1733" y="1646"/>
                </a:lnTo>
                <a:lnTo>
                  <a:pt x="1723" y="1646"/>
                </a:lnTo>
                <a:lnTo>
                  <a:pt x="1712" y="1649"/>
                </a:lnTo>
                <a:lnTo>
                  <a:pt x="1701" y="1651"/>
                </a:lnTo>
                <a:lnTo>
                  <a:pt x="1691" y="1654"/>
                </a:lnTo>
                <a:lnTo>
                  <a:pt x="1681" y="1658"/>
                </a:lnTo>
                <a:lnTo>
                  <a:pt x="1671" y="1662"/>
                </a:lnTo>
                <a:lnTo>
                  <a:pt x="1661" y="1668"/>
                </a:lnTo>
                <a:lnTo>
                  <a:pt x="1683" y="1705"/>
                </a:lnTo>
                <a:close/>
                <a:moveTo>
                  <a:pt x="1698" y="1800"/>
                </a:moveTo>
                <a:lnTo>
                  <a:pt x="1698" y="1800"/>
                </a:lnTo>
                <a:lnTo>
                  <a:pt x="1698" y="1793"/>
                </a:lnTo>
                <a:lnTo>
                  <a:pt x="1701" y="1787"/>
                </a:lnTo>
                <a:lnTo>
                  <a:pt x="1704" y="1781"/>
                </a:lnTo>
                <a:lnTo>
                  <a:pt x="1708" y="1777"/>
                </a:lnTo>
                <a:lnTo>
                  <a:pt x="1714" y="1773"/>
                </a:lnTo>
                <a:lnTo>
                  <a:pt x="1721" y="1771"/>
                </a:lnTo>
                <a:lnTo>
                  <a:pt x="1728" y="1769"/>
                </a:lnTo>
                <a:lnTo>
                  <a:pt x="1736" y="1769"/>
                </a:lnTo>
                <a:lnTo>
                  <a:pt x="1736" y="1769"/>
                </a:lnTo>
                <a:lnTo>
                  <a:pt x="1748" y="1769"/>
                </a:lnTo>
                <a:lnTo>
                  <a:pt x="1760" y="1771"/>
                </a:lnTo>
                <a:lnTo>
                  <a:pt x="1770" y="1774"/>
                </a:lnTo>
                <a:lnTo>
                  <a:pt x="1780" y="1780"/>
                </a:lnTo>
                <a:lnTo>
                  <a:pt x="1780" y="1810"/>
                </a:lnTo>
                <a:lnTo>
                  <a:pt x="1780" y="1810"/>
                </a:lnTo>
                <a:lnTo>
                  <a:pt x="1777" y="1814"/>
                </a:lnTo>
                <a:lnTo>
                  <a:pt x="1773" y="1819"/>
                </a:lnTo>
                <a:lnTo>
                  <a:pt x="1768" y="1823"/>
                </a:lnTo>
                <a:lnTo>
                  <a:pt x="1763" y="1827"/>
                </a:lnTo>
                <a:lnTo>
                  <a:pt x="1757" y="1830"/>
                </a:lnTo>
                <a:lnTo>
                  <a:pt x="1751" y="1832"/>
                </a:lnTo>
                <a:lnTo>
                  <a:pt x="1744" y="1833"/>
                </a:lnTo>
                <a:lnTo>
                  <a:pt x="1736" y="1834"/>
                </a:lnTo>
                <a:lnTo>
                  <a:pt x="1736" y="1834"/>
                </a:lnTo>
                <a:lnTo>
                  <a:pt x="1728" y="1833"/>
                </a:lnTo>
                <a:lnTo>
                  <a:pt x="1721" y="1831"/>
                </a:lnTo>
                <a:lnTo>
                  <a:pt x="1714" y="1829"/>
                </a:lnTo>
                <a:lnTo>
                  <a:pt x="1708" y="1824"/>
                </a:lnTo>
                <a:lnTo>
                  <a:pt x="1704" y="1820"/>
                </a:lnTo>
                <a:lnTo>
                  <a:pt x="1701" y="1814"/>
                </a:lnTo>
                <a:lnTo>
                  <a:pt x="1699" y="1808"/>
                </a:lnTo>
                <a:lnTo>
                  <a:pt x="1698" y="1800"/>
                </a:lnTo>
                <a:lnTo>
                  <a:pt x="1698" y="1800"/>
                </a:lnTo>
                <a:close/>
                <a:moveTo>
                  <a:pt x="2350" y="1810"/>
                </a:moveTo>
                <a:lnTo>
                  <a:pt x="2350" y="1810"/>
                </a:lnTo>
                <a:lnTo>
                  <a:pt x="2342" y="1817"/>
                </a:lnTo>
                <a:lnTo>
                  <a:pt x="2332" y="1822"/>
                </a:lnTo>
                <a:lnTo>
                  <a:pt x="2326" y="1824"/>
                </a:lnTo>
                <a:lnTo>
                  <a:pt x="2320" y="1827"/>
                </a:lnTo>
                <a:lnTo>
                  <a:pt x="2313" y="1828"/>
                </a:lnTo>
                <a:lnTo>
                  <a:pt x="2306" y="1829"/>
                </a:lnTo>
                <a:lnTo>
                  <a:pt x="2306" y="1829"/>
                </a:lnTo>
                <a:lnTo>
                  <a:pt x="2301" y="1828"/>
                </a:lnTo>
                <a:lnTo>
                  <a:pt x="2294" y="1828"/>
                </a:lnTo>
                <a:lnTo>
                  <a:pt x="2286" y="1825"/>
                </a:lnTo>
                <a:lnTo>
                  <a:pt x="2277" y="1821"/>
                </a:lnTo>
                <a:lnTo>
                  <a:pt x="2270" y="1815"/>
                </a:lnTo>
                <a:lnTo>
                  <a:pt x="2266" y="1811"/>
                </a:lnTo>
                <a:lnTo>
                  <a:pt x="2263" y="1807"/>
                </a:lnTo>
                <a:lnTo>
                  <a:pt x="2261" y="1801"/>
                </a:lnTo>
                <a:lnTo>
                  <a:pt x="2259" y="1794"/>
                </a:lnTo>
                <a:lnTo>
                  <a:pt x="2257" y="1788"/>
                </a:lnTo>
                <a:lnTo>
                  <a:pt x="2256" y="1780"/>
                </a:lnTo>
                <a:lnTo>
                  <a:pt x="2393" y="1780"/>
                </a:lnTo>
                <a:lnTo>
                  <a:pt x="2393" y="1780"/>
                </a:lnTo>
                <a:lnTo>
                  <a:pt x="2394" y="1763"/>
                </a:lnTo>
                <a:lnTo>
                  <a:pt x="2394" y="1763"/>
                </a:lnTo>
                <a:lnTo>
                  <a:pt x="2394" y="1750"/>
                </a:lnTo>
                <a:lnTo>
                  <a:pt x="2392" y="1738"/>
                </a:lnTo>
                <a:lnTo>
                  <a:pt x="2391" y="1725"/>
                </a:lnTo>
                <a:lnTo>
                  <a:pt x="2388" y="1714"/>
                </a:lnTo>
                <a:lnTo>
                  <a:pt x="2384" y="1704"/>
                </a:lnTo>
                <a:lnTo>
                  <a:pt x="2380" y="1694"/>
                </a:lnTo>
                <a:lnTo>
                  <a:pt x="2374" y="1685"/>
                </a:lnTo>
                <a:lnTo>
                  <a:pt x="2369" y="1678"/>
                </a:lnTo>
                <a:lnTo>
                  <a:pt x="2362" y="1670"/>
                </a:lnTo>
                <a:lnTo>
                  <a:pt x="2355" y="1664"/>
                </a:lnTo>
                <a:lnTo>
                  <a:pt x="2348" y="1659"/>
                </a:lnTo>
                <a:lnTo>
                  <a:pt x="2339" y="1654"/>
                </a:lnTo>
                <a:lnTo>
                  <a:pt x="2330" y="1651"/>
                </a:lnTo>
                <a:lnTo>
                  <a:pt x="2321" y="1648"/>
                </a:lnTo>
                <a:lnTo>
                  <a:pt x="2311" y="1646"/>
                </a:lnTo>
                <a:lnTo>
                  <a:pt x="2300" y="1645"/>
                </a:lnTo>
                <a:lnTo>
                  <a:pt x="2300" y="1645"/>
                </a:lnTo>
                <a:lnTo>
                  <a:pt x="2290" y="1646"/>
                </a:lnTo>
                <a:lnTo>
                  <a:pt x="2280" y="1648"/>
                </a:lnTo>
                <a:lnTo>
                  <a:pt x="2270" y="1651"/>
                </a:lnTo>
                <a:lnTo>
                  <a:pt x="2260" y="1654"/>
                </a:lnTo>
                <a:lnTo>
                  <a:pt x="2251" y="1659"/>
                </a:lnTo>
                <a:lnTo>
                  <a:pt x="2243" y="1665"/>
                </a:lnTo>
                <a:lnTo>
                  <a:pt x="2235" y="1671"/>
                </a:lnTo>
                <a:lnTo>
                  <a:pt x="2229" y="1679"/>
                </a:lnTo>
                <a:lnTo>
                  <a:pt x="2222" y="1686"/>
                </a:lnTo>
                <a:lnTo>
                  <a:pt x="2216" y="1695"/>
                </a:lnTo>
                <a:lnTo>
                  <a:pt x="2212" y="1705"/>
                </a:lnTo>
                <a:lnTo>
                  <a:pt x="2207" y="1715"/>
                </a:lnTo>
                <a:lnTo>
                  <a:pt x="2204" y="1727"/>
                </a:lnTo>
                <a:lnTo>
                  <a:pt x="2202" y="1739"/>
                </a:lnTo>
                <a:lnTo>
                  <a:pt x="2201" y="1750"/>
                </a:lnTo>
                <a:lnTo>
                  <a:pt x="2200" y="1763"/>
                </a:lnTo>
                <a:lnTo>
                  <a:pt x="2200" y="1763"/>
                </a:lnTo>
                <a:lnTo>
                  <a:pt x="2201" y="1775"/>
                </a:lnTo>
                <a:lnTo>
                  <a:pt x="2202" y="1788"/>
                </a:lnTo>
                <a:lnTo>
                  <a:pt x="2204" y="1800"/>
                </a:lnTo>
                <a:lnTo>
                  <a:pt x="2207" y="1811"/>
                </a:lnTo>
                <a:lnTo>
                  <a:pt x="2212" y="1821"/>
                </a:lnTo>
                <a:lnTo>
                  <a:pt x="2216" y="1831"/>
                </a:lnTo>
                <a:lnTo>
                  <a:pt x="2222" y="1840"/>
                </a:lnTo>
                <a:lnTo>
                  <a:pt x="2229" y="1848"/>
                </a:lnTo>
                <a:lnTo>
                  <a:pt x="2236" y="1854"/>
                </a:lnTo>
                <a:lnTo>
                  <a:pt x="2244" y="1861"/>
                </a:lnTo>
                <a:lnTo>
                  <a:pt x="2253" y="1867"/>
                </a:lnTo>
                <a:lnTo>
                  <a:pt x="2262" y="1871"/>
                </a:lnTo>
                <a:lnTo>
                  <a:pt x="2272" y="1874"/>
                </a:lnTo>
                <a:lnTo>
                  <a:pt x="2283" y="1878"/>
                </a:lnTo>
                <a:lnTo>
                  <a:pt x="2294" y="1879"/>
                </a:lnTo>
                <a:lnTo>
                  <a:pt x="2306" y="1880"/>
                </a:lnTo>
                <a:lnTo>
                  <a:pt x="2306" y="1880"/>
                </a:lnTo>
                <a:lnTo>
                  <a:pt x="2317" y="1879"/>
                </a:lnTo>
                <a:lnTo>
                  <a:pt x="2327" y="1878"/>
                </a:lnTo>
                <a:lnTo>
                  <a:pt x="2339" y="1874"/>
                </a:lnTo>
                <a:lnTo>
                  <a:pt x="2349" y="1871"/>
                </a:lnTo>
                <a:lnTo>
                  <a:pt x="2359" y="1866"/>
                </a:lnTo>
                <a:lnTo>
                  <a:pt x="2368" y="1860"/>
                </a:lnTo>
                <a:lnTo>
                  <a:pt x="2376" y="1852"/>
                </a:lnTo>
                <a:lnTo>
                  <a:pt x="2385" y="1844"/>
                </a:lnTo>
                <a:lnTo>
                  <a:pt x="2350" y="1810"/>
                </a:lnTo>
                <a:close/>
                <a:moveTo>
                  <a:pt x="2257" y="1739"/>
                </a:moveTo>
                <a:lnTo>
                  <a:pt x="2257" y="1739"/>
                </a:lnTo>
                <a:lnTo>
                  <a:pt x="2259" y="1729"/>
                </a:lnTo>
                <a:lnTo>
                  <a:pt x="2261" y="1720"/>
                </a:lnTo>
                <a:lnTo>
                  <a:pt x="2264" y="1712"/>
                </a:lnTo>
                <a:lnTo>
                  <a:pt x="2270" y="1705"/>
                </a:lnTo>
                <a:lnTo>
                  <a:pt x="2275" y="1700"/>
                </a:lnTo>
                <a:lnTo>
                  <a:pt x="2282" y="1696"/>
                </a:lnTo>
                <a:lnTo>
                  <a:pt x="2290" y="1693"/>
                </a:lnTo>
                <a:lnTo>
                  <a:pt x="2299" y="1693"/>
                </a:lnTo>
                <a:lnTo>
                  <a:pt x="2299" y="1693"/>
                </a:lnTo>
                <a:lnTo>
                  <a:pt x="2309" y="1694"/>
                </a:lnTo>
                <a:lnTo>
                  <a:pt x="2317" y="1696"/>
                </a:lnTo>
                <a:lnTo>
                  <a:pt x="2324" y="1701"/>
                </a:lnTo>
                <a:lnTo>
                  <a:pt x="2330" y="1708"/>
                </a:lnTo>
                <a:lnTo>
                  <a:pt x="2334" y="1714"/>
                </a:lnTo>
                <a:lnTo>
                  <a:pt x="2338" y="1722"/>
                </a:lnTo>
                <a:lnTo>
                  <a:pt x="2340" y="1731"/>
                </a:lnTo>
                <a:lnTo>
                  <a:pt x="2341" y="1739"/>
                </a:lnTo>
                <a:lnTo>
                  <a:pt x="2257" y="1739"/>
                </a:lnTo>
                <a:close/>
                <a:moveTo>
                  <a:pt x="2884" y="1810"/>
                </a:moveTo>
                <a:lnTo>
                  <a:pt x="2884" y="1810"/>
                </a:lnTo>
                <a:lnTo>
                  <a:pt x="2875" y="1817"/>
                </a:lnTo>
                <a:lnTo>
                  <a:pt x="2867" y="1822"/>
                </a:lnTo>
                <a:lnTo>
                  <a:pt x="2860" y="1824"/>
                </a:lnTo>
                <a:lnTo>
                  <a:pt x="2854" y="1827"/>
                </a:lnTo>
                <a:lnTo>
                  <a:pt x="2848" y="1828"/>
                </a:lnTo>
                <a:lnTo>
                  <a:pt x="2840" y="1829"/>
                </a:lnTo>
                <a:lnTo>
                  <a:pt x="2840" y="1829"/>
                </a:lnTo>
                <a:lnTo>
                  <a:pt x="2834" y="1828"/>
                </a:lnTo>
                <a:lnTo>
                  <a:pt x="2828" y="1828"/>
                </a:lnTo>
                <a:lnTo>
                  <a:pt x="2820" y="1825"/>
                </a:lnTo>
                <a:lnTo>
                  <a:pt x="2812" y="1821"/>
                </a:lnTo>
                <a:lnTo>
                  <a:pt x="2804" y="1815"/>
                </a:lnTo>
                <a:lnTo>
                  <a:pt x="2801" y="1811"/>
                </a:lnTo>
                <a:lnTo>
                  <a:pt x="2798" y="1807"/>
                </a:lnTo>
                <a:lnTo>
                  <a:pt x="2795" y="1801"/>
                </a:lnTo>
                <a:lnTo>
                  <a:pt x="2793" y="1794"/>
                </a:lnTo>
                <a:lnTo>
                  <a:pt x="2791" y="1788"/>
                </a:lnTo>
                <a:lnTo>
                  <a:pt x="2790" y="1780"/>
                </a:lnTo>
                <a:lnTo>
                  <a:pt x="2928" y="1780"/>
                </a:lnTo>
                <a:lnTo>
                  <a:pt x="2928" y="1780"/>
                </a:lnTo>
                <a:lnTo>
                  <a:pt x="2929" y="1763"/>
                </a:lnTo>
                <a:lnTo>
                  <a:pt x="2929" y="1763"/>
                </a:lnTo>
                <a:lnTo>
                  <a:pt x="2928" y="1750"/>
                </a:lnTo>
                <a:lnTo>
                  <a:pt x="2927" y="1738"/>
                </a:lnTo>
                <a:lnTo>
                  <a:pt x="2924" y="1725"/>
                </a:lnTo>
                <a:lnTo>
                  <a:pt x="2922" y="1714"/>
                </a:lnTo>
                <a:lnTo>
                  <a:pt x="2918" y="1704"/>
                </a:lnTo>
                <a:lnTo>
                  <a:pt x="2913" y="1694"/>
                </a:lnTo>
                <a:lnTo>
                  <a:pt x="2909" y="1685"/>
                </a:lnTo>
                <a:lnTo>
                  <a:pt x="2903" y="1678"/>
                </a:lnTo>
                <a:lnTo>
                  <a:pt x="2897" y="1670"/>
                </a:lnTo>
                <a:lnTo>
                  <a:pt x="2889" y="1664"/>
                </a:lnTo>
                <a:lnTo>
                  <a:pt x="2881" y="1659"/>
                </a:lnTo>
                <a:lnTo>
                  <a:pt x="2873" y="1654"/>
                </a:lnTo>
                <a:lnTo>
                  <a:pt x="2864" y="1651"/>
                </a:lnTo>
                <a:lnTo>
                  <a:pt x="2854" y="1648"/>
                </a:lnTo>
                <a:lnTo>
                  <a:pt x="2844" y="1646"/>
                </a:lnTo>
                <a:lnTo>
                  <a:pt x="2834" y="1645"/>
                </a:lnTo>
                <a:lnTo>
                  <a:pt x="2834" y="1645"/>
                </a:lnTo>
                <a:lnTo>
                  <a:pt x="2823" y="1646"/>
                </a:lnTo>
                <a:lnTo>
                  <a:pt x="2813" y="1648"/>
                </a:lnTo>
                <a:lnTo>
                  <a:pt x="2803" y="1651"/>
                </a:lnTo>
                <a:lnTo>
                  <a:pt x="2794" y="1654"/>
                </a:lnTo>
                <a:lnTo>
                  <a:pt x="2785" y="1659"/>
                </a:lnTo>
                <a:lnTo>
                  <a:pt x="2777" y="1665"/>
                </a:lnTo>
                <a:lnTo>
                  <a:pt x="2770" y="1671"/>
                </a:lnTo>
                <a:lnTo>
                  <a:pt x="2762" y="1679"/>
                </a:lnTo>
                <a:lnTo>
                  <a:pt x="2755" y="1686"/>
                </a:lnTo>
                <a:lnTo>
                  <a:pt x="2750" y="1695"/>
                </a:lnTo>
                <a:lnTo>
                  <a:pt x="2745" y="1705"/>
                </a:lnTo>
                <a:lnTo>
                  <a:pt x="2741" y="1715"/>
                </a:lnTo>
                <a:lnTo>
                  <a:pt x="2739" y="1727"/>
                </a:lnTo>
                <a:lnTo>
                  <a:pt x="2735" y="1739"/>
                </a:lnTo>
                <a:lnTo>
                  <a:pt x="2734" y="1750"/>
                </a:lnTo>
                <a:lnTo>
                  <a:pt x="2734" y="1763"/>
                </a:lnTo>
                <a:lnTo>
                  <a:pt x="2734" y="1763"/>
                </a:lnTo>
                <a:lnTo>
                  <a:pt x="2734" y="1775"/>
                </a:lnTo>
                <a:lnTo>
                  <a:pt x="2735" y="1788"/>
                </a:lnTo>
                <a:lnTo>
                  <a:pt x="2738" y="1800"/>
                </a:lnTo>
                <a:lnTo>
                  <a:pt x="2741" y="1811"/>
                </a:lnTo>
                <a:lnTo>
                  <a:pt x="2745" y="1821"/>
                </a:lnTo>
                <a:lnTo>
                  <a:pt x="2751" y="1831"/>
                </a:lnTo>
                <a:lnTo>
                  <a:pt x="2757" y="1840"/>
                </a:lnTo>
                <a:lnTo>
                  <a:pt x="2763" y="1848"/>
                </a:lnTo>
                <a:lnTo>
                  <a:pt x="2770" y="1854"/>
                </a:lnTo>
                <a:lnTo>
                  <a:pt x="2778" y="1861"/>
                </a:lnTo>
                <a:lnTo>
                  <a:pt x="2787" y="1867"/>
                </a:lnTo>
                <a:lnTo>
                  <a:pt x="2797" y="1871"/>
                </a:lnTo>
                <a:lnTo>
                  <a:pt x="2807" y="1874"/>
                </a:lnTo>
                <a:lnTo>
                  <a:pt x="2817" y="1878"/>
                </a:lnTo>
                <a:lnTo>
                  <a:pt x="2829" y="1879"/>
                </a:lnTo>
                <a:lnTo>
                  <a:pt x="2840" y="1880"/>
                </a:lnTo>
                <a:lnTo>
                  <a:pt x="2840" y="1880"/>
                </a:lnTo>
                <a:lnTo>
                  <a:pt x="2851" y="1879"/>
                </a:lnTo>
                <a:lnTo>
                  <a:pt x="2862" y="1878"/>
                </a:lnTo>
                <a:lnTo>
                  <a:pt x="2872" y="1874"/>
                </a:lnTo>
                <a:lnTo>
                  <a:pt x="2882" y="1871"/>
                </a:lnTo>
                <a:lnTo>
                  <a:pt x="2892" y="1866"/>
                </a:lnTo>
                <a:lnTo>
                  <a:pt x="2902" y="1860"/>
                </a:lnTo>
                <a:lnTo>
                  <a:pt x="2911" y="1852"/>
                </a:lnTo>
                <a:lnTo>
                  <a:pt x="2919" y="1844"/>
                </a:lnTo>
                <a:lnTo>
                  <a:pt x="2884" y="1810"/>
                </a:lnTo>
                <a:close/>
                <a:moveTo>
                  <a:pt x="2791" y="1739"/>
                </a:moveTo>
                <a:lnTo>
                  <a:pt x="2791" y="1739"/>
                </a:lnTo>
                <a:lnTo>
                  <a:pt x="2792" y="1729"/>
                </a:lnTo>
                <a:lnTo>
                  <a:pt x="2795" y="1720"/>
                </a:lnTo>
                <a:lnTo>
                  <a:pt x="2799" y="1712"/>
                </a:lnTo>
                <a:lnTo>
                  <a:pt x="2803" y="1705"/>
                </a:lnTo>
                <a:lnTo>
                  <a:pt x="2810" y="1700"/>
                </a:lnTo>
                <a:lnTo>
                  <a:pt x="2817" y="1696"/>
                </a:lnTo>
                <a:lnTo>
                  <a:pt x="2824" y="1693"/>
                </a:lnTo>
                <a:lnTo>
                  <a:pt x="2833" y="1693"/>
                </a:lnTo>
                <a:lnTo>
                  <a:pt x="2833" y="1693"/>
                </a:lnTo>
                <a:lnTo>
                  <a:pt x="2843" y="1694"/>
                </a:lnTo>
                <a:lnTo>
                  <a:pt x="2851" y="1696"/>
                </a:lnTo>
                <a:lnTo>
                  <a:pt x="2859" y="1701"/>
                </a:lnTo>
                <a:lnTo>
                  <a:pt x="2864" y="1708"/>
                </a:lnTo>
                <a:lnTo>
                  <a:pt x="2869" y="1714"/>
                </a:lnTo>
                <a:lnTo>
                  <a:pt x="2872" y="1722"/>
                </a:lnTo>
                <a:lnTo>
                  <a:pt x="2874" y="1731"/>
                </a:lnTo>
                <a:lnTo>
                  <a:pt x="2875" y="1739"/>
                </a:lnTo>
                <a:lnTo>
                  <a:pt x="2791" y="1739"/>
                </a:lnTo>
                <a:close/>
                <a:moveTo>
                  <a:pt x="2658" y="1797"/>
                </a:moveTo>
                <a:lnTo>
                  <a:pt x="2658" y="1797"/>
                </a:lnTo>
                <a:lnTo>
                  <a:pt x="2658" y="1804"/>
                </a:lnTo>
                <a:lnTo>
                  <a:pt x="2659" y="1810"/>
                </a:lnTo>
                <a:lnTo>
                  <a:pt x="2661" y="1815"/>
                </a:lnTo>
                <a:lnTo>
                  <a:pt x="2663" y="1820"/>
                </a:lnTo>
                <a:lnTo>
                  <a:pt x="2667" y="1823"/>
                </a:lnTo>
                <a:lnTo>
                  <a:pt x="2671" y="1825"/>
                </a:lnTo>
                <a:lnTo>
                  <a:pt x="2675" y="1827"/>
                </a:lnTo>
                <a:lnTo>
                  <a:pt x="2682" y="1827"/>
                </a:lnTo>
                <a:lnTo>
                  <a:pt x="2682" y="1827"/>
                </a:lnTo>
                <a:lnTo>
                  <a:pt x="2690" y="1827"/>
                </a:lnTo>
                <a:lnTo>
                  <a:pt x="2699" y="1824"/>
                </a:lnTo>
                <a:lnTo>
                  <a:pt x="2708" y="1821"/>
                </a:lnTo>
                <a:lnTo>
                  <a:pt x="2715" y="1817"/>
                </a:lnTo>
                <a:lnTo>
                  <a:pt x="2709" y="1869"/>
                </a:lnTo>
                <a:lnTo>
                  <a:pt x="2709" y="1869"/>
                </a:lnTo>
                <a:lnTo>
                  <a:pt x="2699" y="1873"/>
                </a:lnTo>
                <a:lnTo>
                  <a:pt x="2687" y="1877"/>
                </a:lnTo>
                <a:lnTo>
                  <a:pt x="2674" y="1879"/>
                </a:lnTo>
                <a:lnTo>
                  <a:pt x="2662" y="1880"/>
                </a:lnTo>
                <a:lnTo>
                  <a:pt x="2662" y="1880"/>
                </a:lnTo>
                <a:lnTo>
                  <a:pt x="2654" y="1879"/>
                </a:lnTo>
                <a:lnTo>
                  <a:pt x="2647" y="1878"/>
                </a:lnTo>
                <a:lnTo>
                  <a:pt x="2640" y="1876"/>
                </a:lnTo>
                <a:lnTo>
                  <a:pt x="2634" y="1873"/>
                </a:lnTo>
                <a:lnTo>
                  <a:pt x="2629" y="1870"/>
                </a:lnTo>
                <a:lnTo>
                  <a:pt x="2623" y="1867"/>
                </a:lnTo>
                <a:lnTo>
                  <a:pt x="2620" y="1862"/>
                </a:lnTo>
                <a:lnTo>
                  <a:pt x="2615" y="1857"/>
                </a:lnTo>
                <a:lnTo>
                  <a:pt x="2610" y="1847"/>
                </a:lnTo>
                <a:lnTo>
                  <a:pt x="2605" y="1834"/>
                </a:lnTo>
                <a:lnTo>
                  <a:pt x="2603" y="1823"/>
                </a:lnTo>
                <a:lnTo>
                  <a:pt x="2602" y="1811"/>
                </a:lnTo>
                <a:lnTo>
                  <a:pt x="2602" y="1702"/>
                </a:lnTo>
                <a:lnTo>
                  <a:pt x="2568" y="1702"/>
                </a:lnTo>
                <a:lnTo>
                  <a:pt x="2568" y="1651"/>
                </a:lnTo>
                <a:lnTo>
                  <a:pt x="2602" y="1651"/>
                </a:lnTo>
                <a:lnTo>
                  <a:pt x="2602" y="1593"/>
                </a:lnTo>
                <a:lnTo>
                  <a:pt x="2658" y="1565"/>
                </a:lnTo>
                <a:lnTo>
                  <a:pt x="2658" y="1651"/>
                </a:lnTo>
                <a:lnTo>
                  <a:pt x="2708" y="1651"/>
                </a:lnTo>
                <a:lnTo>
                  <a:pt x="2708" y="1702"/>
                </a:lnTo>
                <a:lnTo>
                  <a:pt x="2658" y="1702"/>
                </a:lnTo>
                <a:lnTo>
                  <a:pt x="2658" y="1797"/>
                </a:lnTo>
                <a:close/>
                <a:moveTo>
                  <a:pt x="2550" y="1869"/>
                </a:moveTo>
                <a:lnTo>
                  <a:pt x="2550" y="1869"/>
                </a:lnTo>
                <a:lnTo>
                  <a:pt x="2540" y="1873"/>
                </a:lnTo>
                <a:lnTo>
                  <a:pt x="2529" y="1877"/>
                </a:lnTo>
                <a:lnTo>
                  <a:pt x="2516" y="1879"/>
                </a:lnTo>
                <a:lnTo>
                  <a:pt x="2504" y="1880"/>
                </a:lnTo>
                <a:lnTo>
                  <a:pt x="2504" y="1880"/>
                </a:lnTo>
                <a:lnTo>
                  <a:pt x="2495" y="1879"/>
                </a:lnTo>
                <a:lnTo>
                  <a:pt x="2489" y="1878"/>
                </a:lnTo>
                <a:lnTo>
                  <a:pt x="2482" y="1876"/>
                </a:lnTo>
                <a:lnTo>
                  <a:pt x="2475" y="1873"/>
                </a:lnTo>
                <a:lnTo>
                  <a:pt x="2471" y="1870"/>
                </a:lnTo>
                <a:lnTo>
                  <a:pt x="2465" y="1867"/>
                </a:lnTo>
                <a:lnTo>
                  <a:pt x="2461" y="1862"/>
                </a:lnTo>
                <a:lnTo>
                  <a:pt x="2458" y="1857"/>
                </a:lnTo>
                <a:lnTo>
                  <a:pt x="2451" y="1847"/>
                </a:lnTo>
                <a:lnTo>
                  <a:pt x="2448" y="1834"/>
                </a:lnTo>
                <a:lnTo>
                  <a:pt x="2444" y="1823"/>
                </a:lnTo>
                <a:lnTo>
                  <a:pt x="2444" y="1811"/>
                </a:lnTo>
                <a:lnTo>
                  <a:pt x="2444" y="1702"/>
                </a:lnTo>
                <a:lnTo>
                  <a:pt x="2410" y="1702"/>
                </a:lnTo>
                <a:lnTo>
                  <a:pt x="2410" y="1651"/>
                </a:lnTo>
                <a:lnTo>
                  <a:pt x="2444" y="1651"/>
                </a:lnTo>
                <a:lnTo>
                  <a:pt x="2444" y="1593"/>
                </a:lnTo>
                <a:lnTo>
                  <a:pt x="2500" y="1565"/>
                </a:lnTo>
                <a:lnTo>
                  <a:pt x="2500" y="1651"/>
                </a:lnTo>
                <a:lnTo>
                  <a:pt x="2546" y="1651"/>
                </a:lnTo>
                <a:lnTo>
                  <a:pt x="2546" y="1702"/>
                </a:lnTo>
                <a:lnTo>
                  <a:pt x="2500" y="1702"/>
                </a:lnTo>
                <a:lnTo>
                  <a:pt x="2500" y="1797"/>
                </a:lnTo>
                <a:lnTo>
                  <a:pt x="2500" y="1797"/>
                </a:lnTo>
                <a:lnTo>
                  <a:pt x="2500" y="1804"/>
                </a:lnTo>
                <a:lnTo>
                  <a:pt x="2501" y="1810"/>
                </a:lnTo>
                <a:lnTo>
                  <a:pt x="2503" y="1815"/>
                </a:lnTo>
                <a:lnTo>
                  <a:pt x="2505" y="1820"/>
                </a:lnTo>
                <a:lnTo>
                  <a:pt x="2509" y="1823"/>
                </a:lnTo>
                <a:lnTo>
                  <a:pt x="2513" y="1825"/>
                </a:lnTo>
                <a:lnTo>
                  <a:pt x="2518" y="1827"/>
                </a:lnTo>
                <a:lnTo>
                  <a:pt x="2523" y="1827"/>
                </a:lnTo>
                <a:lnTo>
                  <a:pt x="2523" y="1827"/>
                </a:lnTo>
                <a:lnTo>
                  <a:pt x="2532" y="1827"/>
                </a:lnTo>
                <a:lnTo>
                  <a:pt x="2541" y="1824"/>
                </a:lnTo>
                <a:lnTo>
                  <a:pt x="2549" y="1821"/>
                </a:lnTo>
                <a:lnTo>
                  <a:pt x="2556" y="1817"/>
                </a:lnTo>
                <a:lnTo>
                  <a:pt x="2550" y="1869"/>
                </a:lnTo>
                <a:close/>
                <a:moveTo>
                  <a:pt x="3096" y="1713"/>
                </a:moveTo>
                <a:lnTo>
                  <a:pt x="3096" y="1713"/>
                </a:lnTo>
                <a:lnTo>
                  <a:pt x="3088" y="1708"/>
                </a:lnTo>
                <a:lnTo>
                  <a:pt x="3079" y="1704"/>
                </a:lnTo>
                <a:lnTo>
                  <a:pt x="3069" y="1702"/>
                </a:lnTo>
                <a:lnTo>
                  <a:pt x="3059" y="1701"/>
                </a:lnTo>
                <a:lnTo>
                  <a:pt x="3059" y="1701"/>
                </a:lnTo>
                <a:lnTo>
                  <a:pt x="3050" y="1702"/>
                </a:lnTo>
                <a:lnTo>
                  <a:pt x="3041" y="1704"/>
                </a:lnTo>
                <a:lnTo>
                  <a:pt x="3034" y="1709"/>
                </a:lnTo>
                <a:lnTo>
                  <a:pt x="3029" y="1714"/>
                </a:lnTo>
                <a:lnTo>
                  <a:pt x="3024" y="1721"/>
                </a:lnTo>
                <a:lnTo>
                  <a:pt x="3022" y="1730"/>
                </a:lnTo>
                <a:lnTo>
                  <a:pt x="3020" y="1741"/>
                </a:lnTo>
                <a:lnTo>
                  <a:pt x="3019" y="1753"/>
                </a:lnTo>
                <a:lnTo>
                  <a:pt x="3019" y="1874"/>
                </a:lnTo>
                <a:lnTo>
                  <a:pt x="2964" y="1874"/>
                </a:lnTo>
                <a:lnTo>
                  <a:pt x="2964" y="1651"/>
                </a:lnTo>
                <a:lnTo>
                  <a:pt x="3019" y="1651"/>
                </a:lnTo>
                <a:lnTo>
                  <a:pt x="3019" y="1670"/>
                </a:lnTo>
                <a:lnTo>
                  <a:pt x="3019" y="1670"/>
                </a:lnTo>
                <a:lnTo>
                  <a:pt x="3024" y="1664"/>
                </a:lnTo>
                <a:lnTo>
                  <a:pt x="3030" y="1659"/>
                </a:lnTo>
                <a:lnTo>
                  <a:pt x="3036" y="1655"/>
                </a:lnTo>
                <a:lnTo>
                  <a:pt x="3042" y="1652"/>
                </a:lnTo>
                <a:lnTo>
                  <a:pt x="3048" y="1649"/>
                </a:lnTo>
                <a:lnTo>
                  <a:pt x="3054" y="1648"/>
                </a:lnTo>
                <a:lnTo>
                  <a:pt x="3061" y="1646"/>
                </a:lnTo>
                <a:lnTo>
                  <a:pt x="3069" y="1645"/>
                </a:lnTo>
                <a:lnTo>
                  <a:pt x="3069" y="1645"/>
                </a:lnTo>
                <a:lnTo>
                  <a:pt x="3080" y="1646"/>
                </a:lnTo>
                <a:lnTo>
                  <a:pt x="3091" y="1650"/>
                </a:lnTo>
                <a:lnTo>
                  <a:pt x="3101" y="1653"/>
                </a:lnTo>
                <a:lnTo>
                  <a:pt x="3110" y="1659"/>
                </a:lnTo>
                <a:lnTo>
                  <a:pt x="3096" y="1713"/>
                </a:lnTo>
                <a:close/>
                <a:moveTo>
                  <a:pt x="597" y="1598"/>
                </a:moveTo>
                <a:lnTo>
                  <a:pt x="597" y="1619"/>
                </a:lnTo>
                <a:lnTo>
                  <a:pt x="541" y="1619"/>
                </a:lnTo>
                <a:lnTo>
                  <a:pt x="541" y="1563"/>
                </a:lnTo>
                <a:lnTo>
                  <a:pt x="597" y="1563"/>
                </a:lnTo>
                <a:lnTo>
                  <a:pt x="597" y="1598"/>
                </a:lnTo>
                <a:close/>
                <a:moveTo>
                  <a:pt x="981" y="1651"/>
                </a:moveTo>
                <a:lnTo>
                  <a:pt x="1037" y="1651"/>
                </a:lnTo>
                <a:lnTo>
                  <a:pt x="1037" y="1765"/>
                </a:lnTo>
                <a:lnTo>
                  <a:pt x="1037" y="1874"/>
                </a:lnTo>
                <a:lnTo>
                  <a:pt x="981" y="1874"/>
                </a:lnTo>
                <a:lnTo>
                  <a:pt x="981" y="1651"/>
                </a:lnTo>
                <a:close/>
                <a:moveTo>
                  <a:pt x="1037" y="1591"/>
                </a:moveTo>
                <a:lnTo>
                  <a:pt x="1037" y="1619"/>
                </a:lnTo>
                <a:lnTo>
                  <a:pt x="981" y="1619"/>
                </a:lnTo>
                <a:lnTo>
                  <a:pt x="981" y="1563"/>
                </a:lnTo>
                <a:lnTo>
                  <a:pt x="1037" y="1563"/>
                </a:lnTo>
                <a:lnTo>
                  <a:pt x="1037" y="1591"/>
                </a:lnTo>
                <a:close/>
                <a:moveTo>
                  <a:pt x="2558" y="2058"/>
                </a:moveTo>
                <a:lnTo>
                  <a:pt x="2558" y="2058"/>
                </a:lnTo>
                <a:lnTo>
                  <a:pt x="2552" y="2053"/>
                </a:lnTo>
                <a:lnTo>
                  <a:pt x="2546" y="2049"/>
                </a:lnTo>
                <a:lnTo>
                  <a:pt x="2541" y="2046"/>
                </a:lnTo>
                <a:lnTo>
                  <a:pt x="2534" y="2042"/>
                </a:lnTo>
                <a:lnTo>
                  <a:pt x="2529" y="2040"/>
                </a:lnTo>
                <a:lnTo>
                  <a:pt x="2522" y="2039"/>
                </a:lnTo>
                <a:lnTo>
                  <a:pt x="2508" y="2037"/>
                </a:lnTo>
                <a:lnTo>
                  <a:pt x="2508" y="2037"/>
                </a:lnTo>
                <a:lnTo>
                  <a:pt x="2498" y="2038"/>
                </a:lnTo>
                <a:lnTo>
                  <a:pt x="2489" y="2039"/>
                </a:lnTo>
                <a:lnTo>
                  <a:pt x="2480" y="2042"/>
                </a:lnTo>
                <a:lnTo>
                  <a:pt x="2471" y="2046"/>
                </a:lnTo>
                <a:lnTo>
                  <a:pt x="2463" y="2050"/>
                </a:lnTo>
                <a:lnTo>
                  <a:pt x="2456" y="2055"/>
                </a:lnTo>
                <a:lnTo>
                  <a:pt x="2450" y="2061"/>
                </a:lnTo>
                <a:lnTo>
                  <a:pt x="2443" y="2068"/>
                </a:lnTo>
                <a:lnTo>
                  <a:pt x="2439" y="2076"/>
                </a:lnTo>
                <a:lnTo>
                  <a:pt x="2433" y="2085"/>
                </a:lnTo>
                <a:lnTo>
                  <a:pt x="2430" y="2093"/>
                </a:lnTo>
                <a:lnTo>
                  <a:pt x="2426" y="2105"/>
                </a:lnTo>
                <a:lnTo>
                  <a:pt x="2423" y="2115"/>
                </a:lnTo>
                <a:lnTo>
                  <a:pt x="2422" y="2127"/>
                </a:lnTo>
                <a:lnTo>
                  <a:pt x="2421" y="2139"/>
                </a:lnTo>
                <a:lnTo>
                  <a:pt x="2420" y="2152"/>
                </a:lnTo>
                <a:lnTo>
                  <a:pt x="2420" y="2152"/>
                </a:lnTo>
                <a:lnTo>
                  <a:pt x="2421" y="2166"/>
                </a:lnTo>
                <a:lnTo>
                  <a:pt x="2422" y="2178"/>
                </a:lnTo>
                <a:lnTo>
                  <a:pt x="2423" y="2190"/>
                </a:lnTo>
                <a:lnTo>
                  <a:pt x="2426" y="2202"/>
                </a:lnTo>
                <a:lnTo>
                  <a:pt x="2429" y="2212"/>
                </a:lnTo>
                <a:lnTo>
                  <a:pt x="2433" y="2222"/>
                </a:lnTo>
                <a:lnTo>
                  <a:pt x="2438" y="2231"/>
                </a:lnTo>
                <a:lnTo>
                  <a:pt x="2443" y="2239"/>
                </a:lnTo>
                <a:lnTo>
                  <a:pt x="2449" y="2247"/>
                </a:lnTo>
                <a:lnTo>
                  <a:pt x="2455" y="2252"/>
                </a:lnTo>
                <a:lnTo>
                  <a:pt x="2462" y="2258"/>
                </a:lnTo>
                <a:lnTo>
                  <a:pt x="2470" y="2262"/>
                </a:lnTo>
                <a:lnTo>
                  <a:pt x="2479" y="2267"/>
                </a:lnTo>
                <a:lnTo>
                  <a:pt x="2488" y="2269"/>
                </a:lnTo>
                <a:lnTo>
                  <a:pt x="2496" y="2270"/>
                </a:lnTo>
                <a:lnTo>
                  <a:pt x="2506" y="2271"/>
                </a:lnTo>
                <a:lnTo>
                  <a:pt x="2506" y="2271"/>
                </a:lnTo>
                <a:lnTo>
                  <a:pt x="2513" y="2270"/>
                </a:lnTo>
                <a:lnTo>
                  <a:pt x="2521" y="2269"/>
                </a:lnTo>
                <a:lnTo>
                  <a:pt x="2528" y="2268"/>
                </a:lnTo>
                <a:lnTo>
                  <a:pt x="2533" y="2266"/>
                </a:lnTo>
                <a:lnTo>
                  <a:pt x="2540" y="2262"/>
                </a:lnTo>
                <a:lnTo>
                  <a:pt x="2546" y="2259"/>
                </a:lnTo>
                <a:lnTo>
                  <a:pt x="2552" y="2255"/>
                </a:lnTo>
                <a:lnTo>
                  <a:pt x="2558" y="2249"/>
                </a:lnTo>
                <a:lnTo>
                  <a:pt x="2558" y="2266"/>
                </a:lnTo>
                <a:lnTo>
                  <a:pt x="2613" y="2266"/>
                </a:lnTo>
                <a:lnTo>
                  <a:pt x="2613" y="1949"/>
                </a:lnTo>
                <a:lnTo>
                  <a:pt x="2558" y="1977"/>
                </a:lnTo>
                <a:lnTo>
                  <a:pt x="2558" y="2058"/>
                </a:lnTo>
                <a:close/>
                <a:moveTo>
                  <a:pt x="2519" y="2220"/>
                </a:moveTo>
                <a:lnTo>
                  <a:pt x="2519" y="2220"/>
                </a:lnTo>
                <a:lnTo>
                  <a:pt x="2511" y="2219"/>
                </a:lnTo>
                <a:lnTo>
                  <a:pt x="2504" y="2217"/>
                </a:lnTo>
                <a:lnTo>
                  <a:pt x="2496" y="2214"/>
                </a:lnTo>
                <a:lnTo>
                  <a:pt x="2490" y="2207"/>
                </a:lnTo>
                <a:lnTo>
                  <a:pt x="2484" y="2198"/>
                </a:lnTo>
                <a:lnTo>
                  <a:pt x="2480" y="2186"/>
                </a:lnTo>
                <a:lnTo>
                  <a:pt x="2478" y="2170"/>
                </a:lnTo>
                <a:lnTo>
                  <a:pt x="2476" y="2150"/>
                </a:lnTo>
                <a:lnTo>
                  <a:pt x="2476" y="2150"/>
                </a:lnTo>
                <a:lnTo>
                  <a:pt x="2478" y="2133"/>
                </a:lnTo>
                <a:lnTo>
                  <a:pt x="2480" y="2119"/>
                </a:lnTo>
                <a:lnTo>
                  <a:pt x="2484" y="2108"/>
                </a:lnTo>
                <a:lnTo>
                  <a:pt x="2490" y="2100"/>
                </a:lnTo>
                <a:lnTo>
                  <a:pt x="2496" y="2095"/>
                </a:lnTo>
                <a:lnTo>
                  <a:pt x="2503" y="2090"/>
                </a:lnTo>
                <a:lnTo>
                  <a:pt x="2511" y="2089"/>
                </a:lnTo>
                <a:lnTo>
                  <a:pt x="2518" y="2088"/>
                </a:lnTo>
                <a:lnTo>
                  <a:pt x="2518" y="2088"/>
                </a:lnTo>
                <a:lnTo>
                  <a:pt x="2525" y="2089"/>
                </a:lnTo>
                <a:lnTo>
                  <a:pt x="2532" y="2090"/>
                </a:lnTo>
                <a:lnTo>
                  <a:pt x="2538" y="2092"/>
                </a:lnTo>
                <a:lnTo>
                  <a:pt x="2543" y="2096"/>
                </a:lnTo>
                <a:lnTo>
                  <a:pt x="2548" y="2099"/>
                </a:lnTo>
                <a:lnTo>
                  <a:pt x="2552" y="2102"/>
                </a:lnTo>
                <a:lnTo>
                  <a:pt x="2558" y="2110"/>
                </a:lnTo>
                <a:lnTo>
                  <a:pt x="2558" y="2198"/>
                </a:lnTo>
                <a:lnTo>
                  <a:pt x="2558" y="2198"/>
                </a:lnTo>
                <a:lnTo>
                  <a:pt x="2551" y="2206"/>
                </a:lnTo>
                <a:lnTo>
                  <a:pt x="2543" y="2212"/>
                </a:lnTo>
                <a:lnTo>
                  <a:pt x="2538" y="2216"/>
                </a:lnTo>
                <a:lnTo>
                  <a:pt x="2532" y="2218"/>
                </a:lnTo>
                <a:lnTo>
                  <a:pt x="2525" y="2219"/>
                </a:lnTo>
                <a:lnTo>
                  <a:pt x="2519" y="2220"/>
                </a:lnTo>
                <a:lnTo>
                  <a:pt x="2519" y="2220"/>
                </a:lnTo>
                <a:close/>
                <a:moveTo>
                  <a:pt x="677" y="2105"/>
                </a:moveTo>
                <a:lnTo>
                  <a:pt x="677" y="2105"/>
                </a:lnTo>
                <a:lnTo>
                  <a:pt x="669" y="2100"/>
                </a:lnTo>
                <a:lnTo>
                  <a:pt x="660" y="2096"/>
                </a:lnTo>
                <a:lnTo>
                  <a:pt x="650" y="2093"/>
                </a:lnTo>
                <a:lnTo>
                  <a:pt x="640" y="2092"/>
                </a:lnTo>
                <a:lnTo>
                  <a:pt x="640" y="2092"/>
                </a:lnTo>
                <a:lnTo>
                  <a:pt x="631" y="2093"/>
                </a:lnTo>
                <a:lnTo>
                  <a:pt x="622" y="2096"/>
                </a:lnTo>
                <a:lnTo>
                  <a:pt x="616" y="2100"/>
                </a:lnTo>
                <a:lnTo>
                  <a:pt x="610" y="2106"/>
                </a:lnTo>
                <a:lnTo>
                  <a:pt x="606" y="2112"/>
                </a:lnTo>
                <a:lnTo>
                  <a:pt x="604" y="2121"/>
                </a:lnTo>
                <a:lnTo>
                  <a:pt x="601" y="2132"/>
                </a:lnTo>
                <a:lnTo>
                  <a:pt x="600" y="2145"/>
                </a:lnTo>
                <a:lnTo>
                  <a:pt x="600" y="2266"/>
                </a:lnTo>
                <a:lnTo>
                  <a:pt x="546" y="2266"/>
                </a:lnTo>
                <a:lnTo>
                  <a:pt x="546" y="2042"/>
                </a:lnTo>
                <a:lnTo>
                  <a:pt x="600" y="2042"/>
                </a:lnTo>
                <a:lnTo>
                  <a:pt x="600" y="2061"/>
                </a:lnTo>
                <a:lnTo>
                  <a:pt x="600" y="2061"/>
                </a:lnTo>
                <a:lnTo>
                  <a:pt x="606" y="2056"/>
                </a:lnTo>
                <a:lnTo>
                  <a:pt x="611" y="2050"/>
                </a:lnTo>
                <a:lnTo>
                  <a:pt x="617" y="2047"/>
                </a:lnTo>
                <a:lnTo>
                  <a:pt x="624" y="2043"/>
                </a:lnTo>
                <a:lnTo>
                  <a:pt x="629" y="2040"/>
                </a:lnTo>
                <a:lnTo>
                  <a:pt x="636" y="2039"/>
                </a:lnTo>
                <a:lnTo>
                  <a:pt x="644" y="2038"/>
                </a:lnTo>
                <a:lnTo>
                  <a:pt x="650" y="2037"/>
                </a:lnTo>
                <a:lnTo>
                  <a:pt x="650" y="2037"/>
                </a:lnTo>
                <a:lnTo>
                  <a:pt x="661" y="2038"/>
                </a:lnTo>
                <a:lnTo>
                  <a:pt x="672" y="2041"/>
                </a:lnTo>
                <a:lnTo>
                  <a:pt x="684" y="2046"/>
                </a:lnTo>
                <a:lnTo>
                  <a:pt x="692" y="2051"/>
                </a:lnTo>
                <a:lnTo>
                  <a:pt x="677" y="2105"/>
                </a:lnTo>
                <a:close/>
                <a:moveTo>
                  <a:pt x="242" y="2042"/>
                </a:moveTo>
                <a:lnTo>
                  <a:pt x="297" y="2042"/>
                </a:lnTo>
                <a:lnTo>
                  <a:pt x="233" y="2266"/>
                </a:lnTo>
                <a:lnTo>
                  <a:pt x="186" y="2266"/>
                </a:lnTo>
                <a:lnTo>
                  <a:pt x="161" y="2174"/>
                </a:lnTo>
                <a:lnTo>
                  <a:pt x="161" y="2174"/>
                </a:lnTo>
                <a:lnTo>
                  <a:pt x="149" y="2125"/>
                </a:lnTo>
                <a:lnTo>
                  <a:pt x="149" y="2125"/>
                </a:lnTo>
                <a:lnTo>
                  <a:pt x="143" y="2148"/>
                </a:lnTo>
                <a:lnTo>
                  <a:pt x="137" y="2175"/>
                </a:lnTo>
                <a:lnTo>
                  <a:pt x="111" y="2266"/>
                </a:lnTo>
                <a:lnTo>
                  <a:pt x="63" y="2266"/>
                </a:lnTo>
                <a:lnTo>
                  <a:pt x="63" y="2265"/>
                </a:lnTo>
                <a:lnTo>
                  <a:pt x="0" y="2042"/>
                </a:lnTo>
                <a:lnTo>
                  <a:pt x="58" y="2042"/>
                </a:lnTo>
                <a:lnTo>
                  <a:pt x="78" y="2126"/>
                </a:lnTo>
                <a:lnTo>
                  <a:pt x="78" y="2126"/>
                </a:lnTo>
                <a:lnTo>
                  <a:pt x="83" y="2152"/>
                </a:lnTo>
                <a:lnTo>
                  <a:pt x="89" y="2180"/>
                </a:lnTo>
                <a:lnTo>
                  <a:pt x="89" y="2180"/>
                </a:lnTo>
                <a:lnTo>
                  <a:pt x="96" y="2152"/>
                </a:lnTo>
                <a:lnTo>
                  <a:pt x="102" y="2125"/>
                </a:lnTo>
                <a:lnTo>
                  <a:pt x="126" y="2042"/>
                </a:lnTo>
                <a:lnTo>
                  <a:pt x="173" y="2042"/>
                </a:lnTo>
                <a:lnTo>
                  <a:pt x="197" y="2125"/>
                </a:lnTo>
                <a:lnTo>
                  <a:pt x="197" y="2125"/>
                </a:lnTo>
                <a:lnTo>
                  <a:pt x="203" y="2151"/>
                </a:lnTo>
                <a:lnTo>
                  <a:pt x="210" y="2181"/>
                </a:lnTo>
                <a:lnTo>
                  <a:pt x="210" y="2181"/>
                </a:lnTo>
                <a:lnTo>
                  <a:pt x="215" y="2156"/>
                </a:lnTo>
                <a:lnTo>
                  <a:pt x="221" y="2125"/>
                </a:lnTo>
                <a:lnTo>
                  <a:pt x="242" y="2042"/>
                </a:lnTo>
                <a:close/>
                <a:moveTo>
                  <a:pt x="409" y="2037"/>
                </a:moveTo>
                <a:lnTo>
                  <a:pt x="409" y="2037"/>
                </a:lnTo>
                <a:lnTo>
                  <a:pt x="399" y="2038"/>
                </a:lnTo>
                <a:lnTo>
                  <a:pt x="388" y="2039"/>
                </a:lnTo>
                <a:lnTo>
                  <a:pt x="378" y="2042"/>
                </a:lnTo>
                <a:lnTo>
                  <a:pt x="369" y="2046"/>
                </a:lnTo>
                <a:lnTo>
                  <a:pt x="360" y="2050"/>
                </a:lnTo>
                <a:lnTo>
                  <a:pt x="351" y="2056"/>
                </a:lnTo>
                <a:lnTo>
                  <a:pt x="343" y="2062"/>
                </a:lnTo>
                <a:lnTo>
                  <a:pt x="337" y="2070"/>
                </a:lnTo>
                <a:lnTo>
                  <a:pt x="330" y="2078"/>
                </a:lnTo>
                <a:lnTo>
                  <a:pt x="325" y="2087"/>
                </a:lnTo>
                <a:lnTo>
                  <a:pt x="319" y="2097"/>
                </a:lnTo>
                <a:lnTo>
                  <a:pt x="316" y="2107"/>
                </a:lnTo>
                <a:lnTo>
                  <a:pt x="312" y="2118"/>
                </a:lnTo>
                <a:lnTo>
                  <a:pt x="310" y="2129"/>
                </a:lnTo>
                <a:lnTo>
                  <a:pt x="308" y="2141"/>
                </a:lnTo>
                <a:lnTo>
                  <a:pt x="308" y="2155"/>
                </a:lnTo>
                <a:lnTo>
                  <a:pt x="308" y="2155"/>
                </a:lnTo>
                <a:lnTo>
                  <a:pt x="308" y="2167"/>
                </a:lnTo>
                <a:lnTo>
                  <a:pt x="310" y="2179"/>
                </a:lnTo>
                <a:lnTo>
                  <a:pt x="312" y="2190"/>
                </a:lnTo>
                <a:lnTo>
                  <a:pt x="316" y="2201"/>
                </a:lnTo>
                <a:lnTo>
                  <a:pt x="319" y="2211"/>
                </a:lnTo>
                <a:lnTo>
                  <a:pt x="325" y="2221"/>
                </a:lnTo>
                <a:lnTo>
                  <a:pt x="330" y="2230"/>
                </a:lnTo>
                <a:lnTo>
                  <a:pt x="337" y="2238"/>
                </a:lnTo>
                <a:lnTo>
                  <a:pt x="343" y="2246"/>
                </a:lnTo>
                <a:lnTo>
                  <a:pt x="351" y="2252"/>
                </a:lnTo>
                <a:lnTo>
                  <a:pt x="360" y="2258"/>
                </a:lnTo>
                <a:lnTo>
                  <a:pt x="369" y="2262"/>
                </a:lnTo>
                <a:lnTo>
                  <a:pt x="378" y="2266"/>
                </a:lnTo>
                <a:lnTo>
                  <a:pt x="388" y="2269"/>
                </a:lnTo>
                <a:lnTo>
                  <a:pt x="399" y="2270"/>
                </a:lnTo>
                <a:lnTo>
                  <a:pt x="409" y="2271"/>
                </a:lnTo>
                <a:lnTo>
                  <a:pt x="409" y="2271"/>
                </a:lnTo>
                <a:lnTo>
                  <a:pt x="420" y="2270"/>
                </a:lnTo>
                <a:lnTo>
                  <a:pt x="431" y="2269"/>
                </a:lnTo>
                <a:lnTo>
                  <a:pt x="441" y="2266"/>
                </a:lnTo>
                <a:lnTo>
                  <a:pt x="450" y="2262"/>
                </a:lnTo>
                <a:lnTo>
                  <a:pt x="459" y="2258"/>
                </a:lnTo>
                <a:lnTo>
                  <a:pt x="468" y="2252"/>
                </a:lnTo>
                <a:lnTo>
                  <a:pt x="476" y="2246"/>
                </a:lnTo>
                <a:lnTo>
                  <a:pt x="482" y="2238"/>
                </a:lnTo>
                <a:lnTo>
                  <a:pt x="489" y="2230"/>
                </a:lnTo>
                <a:lnTo>
                  <a:pt x="495" y="2221"/>
                </a:lnTo>
                <a:lnTo>
                  <a:pt x="499" y="2211"/>
                </a:lnTo>
                <a:lnTo>
                  <a:pt x="504" y="2201"/>
                </a:lnTo>
                <a:lnTo>
                  <a:pt x="507" y="2190"/>
                </a:lnTo>
                <a:lnTo>
                  <a:pt x="509" y="2179"/>
                </a:lnTo>
                <a:lnTo>
                  <a:pt x="511" y="2167"/>
                </a:lnTo>
                <a:lnTo>
                  <a:pt x="511" y="2155"/>
                </a:lnTo>
                <a:lnTo>
                  <a:pt x="511" y="2155"/>
                </a:lnTo>
                <a:lnTo>
                  <a:pt x="511" y="2141"/>
                </a:lnTo>
                <a:lnTo>
                  <a:pt x="509" y="2129"/>
                </a:lnTo>
                <a:lnTo>
                  <a:pt x="507" y="2118"/>
                </a:lnTo>
                <a:lnTo>
                  <a:pt x="504" y="2107"/>
                </a:lnTo>
                <a:lnTo>
                  <a:pt x="499" y="2097"/>
                </a:lnTo>
                <a:lnTo>
                  <a:pt x="495" y="2087"/>
                </a:lnTo>
                <a:lnTo>
                  <a:pt x="489" y="2078"/>
                </a:lnTo>
                <a:lnTo>
                  <a:pt x="482" y="2070"/>
                </a:lnTo>
                <a:lnTo>
                  <a:pt x="476" y="2062"/>
                </a:lnTo>
                <a:lnTo>
                  <a:pt x="468" y="2056"/>
                </a:lnTo>
                <a:lnTo>
                  <a:pt x="459" y="2050"/>
                </a:lnTo>
                <a:lnTo>
                  <a:pt x="450" y="2046"/>
                </a:lnTo>
                <a:lnTo>
                  <a:pt x="441" y="2042"/>
                </a:lnTo>
                <a:lnTo>
                  <a:pt x="431" y="2039"/>
                </a:lnTo>
                <a:lnTo>
                  <a:pt x="420" y="2038"/>
                </a:lnTo>
                <a:lnTo>
                  <a:pt x="409" y="2037"/>
                </a:lnTo>
                <a:lnTo>
                  <a:pt x="409" y="2037"/>
                </a:lnTo>
                <a:close/>
                <a:moveTo>
                  <a:pt x="409" y="2219"/>
                </a:moveTo>
                <a:lnTo>
                  <a:pt x="409" y="2219"/>
                </a:lnTo>
                <a:lnTo>
                  <a:pt x="399" y="2218"/>
                </a:lnTo>
                <a:lnTo>
                  <a:pt x="390" y="2215"/>
                </a:lnTo>
                <a:lnTo>
                  <a:pt x="383" y="2209"/>
                </a:lnTo>
                <a:lnTo>
                  <a:pt x="377" y="2201"/>
                </a:lnTo>
                <a:lnTo>
                  <a:pt x="371" y="2192"/>
                </a:lnTo>
                <a:lnTo>
                  <a:pt x="367" y="2181"/>
                </a:lnTo>
                <a:lnTo>
                  <a:pt x="365" y="2168"/>
                </a:lnTo>
                <a:lnTo>
                  <a:pt x="365" y="2155"/>
                </a:lnTo>
                <a:lnTo>
                  <a:pt x="365" y="2155"/>
                </a:lnTo>
                <a:lnTo>
                  <a:pt x="365" y="2140"/>
                </a:lnTo>
                <a:lnTo>
                  <a:pt x="367" y="2127"/>
                </a:lnTo>
                <a:lnTo>
                  <a:pt x="371" y="2117"/>
                </a:lnTo>
                <a:lnTo>
                  <a:pt x="377" y="2107"/>
                </a:lnTo>
                <a:lnTo>
                  <a:pt x="383" y="2099"/>
                </a:lnTo>
                <a:lnTo>
                  <a:pt x="390" y="2093"/>
                </a:lnTo>
                <a:lnTo>
                  <a:pt x="399" y="2090"/>
                </a:lnTo>
                <a:lnTo>
                  <a:pt x="409" y="2089"/>
                </a:lnTo>
                <a:lnTo>
                  <a:pt x="409" y="2089"/>
                </a:lnTo>
                <a:lnTo>
                  <a:pt x="419" y="2090"/>
                </a:lnTo>
                <a:lnTo>
                  <a:pt x="428" y="2093"/>
                </a:lnTo>
                <a:lnTo>
                  <a:pt x="436" y="2099"/>
                </a:lnTo>
                <a:lnTo>
                  <a:pt x="442" y="2107"/>
                </a:lnTo>
                <a:lnTo>
                  <a:pt x="448" y="2117"/>
                </a:lnTo>
                <a:lnTo>
                  <a:pt x="451" y="2127"/>
                </a:lnTo>
                <a:lnTo>
                  <a:pt x="453" y="2140"/>
                </a:lnTo>
                <a:lnTo>
                  <a:pt x="455" y="2155"/>
                </a:lnTo>
                <a:lnTo>
                  <a:pt x="455" y="2155"/>
                </a:lnTo>
                <a:lnTo>
                  <a:pt x="453" y="2168"/>
                </a:lnTo>
                <a:lnTo>
                  <a:pt x="451" y="2181"/>
                </a:lnTo>
                <a:lnTo>
                  <a:pt x="448" y="2192"/>
                </a:lnTo>
                <a:lnTo>
                  <a:pt x="442" y="2201"/>
                </a:lnTo>
                <a:lnTo>
                  <a:pt x="436" y="2209"/>
                </a:lnTo>
                <a:lnTo>
                  <a:pt x="428" y="2215"/>
                </a:lnTo>
                <a:lnTo>
                  <a:pt x="419" y="2218"/>
                </a:lnTo>
                <a:lnTo>
                  <a:pt x="409" y="2219"/>
                </a:lnTo>
                <a:lnTo>
                  <a:pt x="409" y="2219"/>
                </a:lnTo>
                <a:close/>
                <a:moveTo>
                  <a:pt x="2285" y="2105"/>
                </a:moveTo>
                <a:lnTo>
                  <a:pt x="2285" y="2105"/>
                </a:lnTo>
                <a:lnTo>
                  <a:pt x="2276" y="2100"/>
                </a:lnTo>
                <a:lnTo>
                  <a:pt x="2267" y="2096"/>
                </a:lnTo>
                <a:lnTo>
                  <a:pt x="2257" y="2093"/>
                </a:lnTo>
                <a:lnTo>
                  <a:pt x="2249" y="2092"/>
                </a:lnTo>
                <a:lnTo>
                  <a:pt x="2249" y="2092"/>
                </a:lnTo>
                <a:lnTo>
                  <a:pt x="2239" y="2093"/>
                </a:lnTo>
                <a:lnTo>
                  <a:pt x="2231" y="2096"/>
                </a:lnTo>
                <a:lnTo>
                  <a:pt x="2224" y="2100"/>
                </a:lnTo>
                <a:lnTo>
                  <a:pt x="2219" y="2106"/>
                </a:lnTo>
                <a:lnTo>
                  <a:pt x="2214" y="2112"/>
                </a:lnTo>
                <a:lnTo>
                  <a:pt x="2211" y="2121"/>
                </a:lnTo>
                <a:lnTo>
                  <a:pt x="2209" y="2132"/>
                </a:lnTo>
                <a:lnTo>
                  <a:pt x="2209" y="2145"/>
                </a:lnTo>
                <a:lnTo>
                  <a:pt x="2209" y="2266"/>
                </a:lnTo>
                <a:lnTo>
                  <a:pt x="2153" y="2266"/>
                </a:lnTo>
                <a:lnTo>
                  <a:pt x="2153" y="2042"/>
                </a:lnTo>
                <a:lnTo>
                  <a:pt x="2209" y="2042"/>
                </a:lnTo>
                <a:lnTo>
                  <a:pt x="2209" y="2061"/>
                </a:lnTo>
                <a:lnTo>
                  <a:pt x="2209" y="2061"/>
                </a:lnTo>
                <a:lnTo>
                  <a:pt x="2213" y="2056"/>
                </a:lnTo>
                <a:lnTo>
                  <a:pt x="2219" y="2050"/>
                </a:lnTo>
                <a:lnTo>
                  <a:pt x="2224" y="2047"/>
                </a:lnTo>
                <a:lnTo>
                  <a:pt x="2231" y="2043"/>
                </a:lnTo>
                <a:lnTo>
                  <a:pt x="2237" y="2040"/>
                </a:lnTo>
                <a:lnTo>
                  <a:pt x="2244" y="2039"/>
                </a:lnTo>
                <a:lnTo>
                  <a:pt x="2251" y="2038"/>
                </a:lnTo>
                <a:lnTo>
                  <a:pt x="2257" y="2037"/>
                </a:lnTo>
                <a:lnTo>
                  <a:pt x="2257" y="2037"/>
                </a:lnTo>
                <a:lnTo>
                  <a:pt x="2269" y="2038"/>
                </a:lnTo>
                <a:lnTo>
                  <a:pt x="2280" y="2041"/>
                </a:lnTo>
                <a:lnTo>
                  <a:pt x="2291" y="2046"/>
                </a:lnTo>
                <a:lnTo>
                  <a:pt x="2300" y="2051"/>
                </a:lnTo>
                <a:lnTo>
                  <a:pt x="2285" y="2105"/>
                </a:lnTo>
                <a:close/>
                <a:moveTo>
                  <a:pt x="1850" y="2042"/>
                </a:moveTo>
                <a:lnTo>
                  <a:pt x="1904" y="2042"/>
                </a:lnTo>
                <a:lnTo>
                  <a:pt x="1841" y="2266"/>
                </a:lnTo>
                <a:lnTo>
                  <a:pt x="1793" y="2266"/>
                </a:lnTo>
                <a:lnTo>
                  <a:pt x="1768" y="2174"/>
                </a:lnTo>
                <a:lnTo>
                  <a:pt x="1768" y="2174"/>
                </a:lnTo>
                <a:lnTo>
                  <a:pt x="1756" y="2125"/>
                </a:lnTo>
                <a:lnTo>
                  <a:pt x="1756" y="2125"/>
                </a:lnTo>
                <a:lnTo>
                  <a:pt x="1751" y="2148"/>
                </a:lnTo>
                <a:lnTo>
                  <a:pt x="1744" y="2175"/>
                </a:lnTo>
                <a:lnTo>
                  <a:pt x="1720" y="2266"/>
                </a:lnTo>
                <a:lnTo>
                  <a:pt x="1672" y="2266"/>
                </a:lnTo>
                <a:lnTo>
                  <a:pt x="1671" y="2265"/>
                </a:lnTo>
                <a:lnTo>
                  <a:pt x="1608" y="2042"/>
                </a:lnTo>
                <a:lnTo>
                  <a:pt x="1665" y="2042"/>
                </a:lnTo>
                <a:lnTo>
                  <a:pt x="1686" y="2126"/>
                </a:lnTo>
                <a:lnTo>
                  <a:pt x="1686" y="2126"/>
                </a:lnTo>
                <a:lnTo>
                  <a:pt x="1692" y="2152"/>
                </a:lnTo>
                <a:lnTo>
                  <a:pt x="1697" y="2180"/>
                </a:lnTo>
                <a:lnTo>
                  <a:pt x="1697" y="2180"/>
                </a:lnTo>
                <a:lnTo>
                  <a:pt x="1703" y="2152"/>
                </a:lnTo>
                <a:lnTo>
                  <a:pt x="1711" y="2125"/>
                </a:lnTo>
                <a:lnTo>
                  <a:pt x="1734" y="2042"/>
                </a:lnTo>
                <a:lnTo>
                  <a:pt x="1781" y="2042"/>
                </a:lnTo>
                <a:lnTo>
                  <a:pt x="1804" y="2125"/>
                </a:lnTo>
                <a:lnTo>
                  <a:pt x="1804" y="2125"/>
                </a:lnTo>
                <a:lnTo>
                  <a:pt x="1811" y="2151"/>
                </a:lnTo>
                <a:lnTo>
                  <a:pt x="1817" y="2181"/>
                </a:lnTo>
                <a:lnTo>
                  <a:pt x="1817" y="2181"/>
                </a:lnTo>
                <a:lnTo>
                  <a:pt x="1823" y="2156"/>
                </a:lnTo>
                <a:lnTo>
                  <a:pt x="1830" y="2125"/>
                </a:lnTo>
                <a:lnTo>
                  <a:pt x="1850" y="2042"/>
                </a:lnTo>
                <a:close/>
                <a:moveTo>
                  <a:pt x="2016" y="2037"/>
                </a:moveTo>
                <a:lnTo>
                  <a:pt x="2016" y="2037"/>
                </a:lnTo>
                <a:lnTo>
                  <a:pt x="2006" y="2038"/>
                </a:lnTo>
                <a:lnTo>
                  <a:pt x="1995" y="2039"/>
                </a:lnTo>
                <a:lnTo>
                  <a:pt x="1985" y="2042"/>
                </a:lnTo>
                <a:lnTo>
                  <a:pt x="1976" y="2046"/>
                </a:lnTo>
                <a:lnTo>
                  <a:pt x="1967" y="2050"/>
                </a:lnTo>
                <a:lnTo>
                  <a:pt x="1958" y="2057"/>
                </a:lnTo>
                <a:lnTo>
                  <a:pt x="1951" y="2062"/>
                </a:lnTo>
                <a:lnTo>
                  <a:pt x="1944" y="2070"/>
                </a:lnTo>
                <a:lnTo>
                  <a:pt x="1937" y="2078"/>
                </a:lnTo>
                <a:lnTo>
                  <a:pt x="1932" y="2087"/>
                </a:lnTo>
                <a:lnTo>
                  <a:pt x="1926" y="2097"/>
                </a:lnTo>
                <a:lnTo>
                  <a:pt x="1923" y="2107"/>
                </a:lnTo>
                <a:lnTo>
                  <a:pt x="1920" y="2118"/>
                </a:lnTo>
                <a:lnTo>
                  <a:pt x="1916" y="2130"/>
                </a:lnTo>
                <a:lnTo>
                  <a:pt x="1915" y="2141"/>
                </a:lnTo>
                <a:lnTo>
                  <a:pt x="1915" y="2155"/>
                </a:lnTo>
                <a:lnTo>
                  <a:pt x="1915" y="2155"/>
                </a:lnTo>
                <a:lnTo>
                  <a:pt x="1915" y="2167"/>
                </a:lnTo>
                <a:lnTo>
                  <a:pt x="1916" y="2179"/>
                </a:lnTo>
                <a:lnTo>
                  <a:pt x="1920" y="2190"/>
                </a:lnTo>
                <a:lnTo>
                  <a:pt x="1923" y="2201"/>
                </a:lnTo>
                <a:lnTo>
                  <a:pt x="1926" y="2211"/>
                </a:lnTo>
                <a:lnTo>
                  <a:pt x="1932" y="2221"/>
                </a:lnTo>
                <a:lnTo>
                  <a:pt x="1937" y="2230"/>
                </a:lnTo>
                <a:lnTo>
                  <a:pt x="1944" y="2238"/>
                </a:lnTo>
                <a:lnTo>
                  <a:pt x="1951" y="2246"/>
                </a:lnTo>
                <a:lnTo>
                  <a:pt x="1958" y="2252"/>
                </a:lnTo>
                <a:lnTo>
                  <a:pt x="1967" y="2258"/>
                </a:lnTo>
                <a:lnTo>
                  <a:pt x="1976" y="2262"/>
                </a:lnTo>
                <a:lnTo>
                  <a:pt x="1985" y="2266"/>
                </a:lnTo>
                <a:lnTo>
                  <a:pt x="1995" y="2269"/>
                </a:lnTo>
                <a:lnTo>
                  <a:pt x="2006" y="2270"/>
                </a:lnTo>
                <a:lnTo>
                  <a:pt x="2016" y="2271"/>
                </a:lnTo>
                <a:lnTo>
                  <a:pt x="2016" y="2271"/>
                </a:lnTo>
                <a:lnTo>
                  <a:pt x="2027" y="2270"/>
                </a:lnTo>
                <a:lnTo>
                  <a:pt x="2039" y="2269"/>
                </a:lnTo>
                <a:lnTo>
                  <a:pt x="2049" y="2266"/>
                </a:lnTo>
                <a:lnTo>
                  <a:pt x="2057" y="2262"/>
                </a:lnTo>
                <a:lnTo>
                  <a:pt x="2066" y="2258"/>
                </a:lnTo>
                <a:lnTo>
                  <a:pt x="2075" y="2252"/>
                </a:lnTo>
                <a:lnTo>
                  <a:pt x="2083" y="2246"/>
                </a:lnTo>
                <a:lnTo>
                  <a:pt x="2090" y="2238"/>
                </a:lnTo>
                <a:lnTo>
                  <a:pt x="2096" y="2230"/>
                </a:lnTo>
                <a:lnTo>
                  <a:pt x="2102" y="2221"/>
                </a:lnTo>
                <a:lnTo>
                  <a:pt x="2106" y="2211"/>
                </a:lnTo>
                <a:lnTo>
                  <a:pt x="2111" y="2201"/>
                </a:lnTo>
                <a:lnTo>
                  <a:pt x="2114" y="2190"/>
                </a:lnTo>
                <a:lnTo>
                  <a:pt x="2116" y="2179"/>
                </a:lnTo>
                <a:lnTo>
                  <a:pt x="2119" y="2167"/>
                </a:lnTo>
                <a:lnTo>
                  <a:pt x="2119" y="2155"/>
                </a:lnTo>
                <a:lnTo>
                  <a:pt x="2119" y="2155"/>
                </a:lnTo>
                <a:lnTo>
                  <a:pt x="2119" y="2141"/>
                </a:lnTo>
                <a:lnTo>
                  <a:pt x="2116" y="2130"/>
                </a:lnTo>
                <a:lnTo>
                  <a:pt x="2114" y="2118"/>
                </a:lnTo>
                <a:lnTo>
                  <a:pt x="2111" y="2107"/>
                </a:lnTo>
                <a:lnTo>
                  <a:pt x="2106" y="2097"/>
                </a:lnTo>
                <a:lnTo>
                  <a:pt x="2102" y="2087"/>
                </a:lnTo>
                <a:lnTo>
                  <a:pt x="2096" y="2078"/>
                </a:lnTo>
                <a:lnTo>
                  <a:pt x="2090" y="2070"/>
                </a:lnTo>
                <a:lnTo>
                  <a:pt x="2083" y="2062"/>
                </a:lnTo>
                <a:lnTo>
                  <a:pt x="2075" y="2057"/>
                </a:lnTo>
                <a:lnTo>
                  <a:pt x="2066" y="2050"/>
                </a:lnTo>
                <a:lnTo>
                  <a:pt x="2057" y="2046"/>
                </a:lnTo>
                <a:lnTo>
                  <a:pt x="2049" y="2042"/>
                </a:lnTo>
                <a:lnTo>
                  <a:pt x="2039" y="2039"/>
                </a:lnTo>
                <a:lnTo>
                  <a:pt x="2027" y="2038"/>
                </a:lnTo>
                <a:lnTo>
                  <a:pt x="2016" y="2037"/>
                </a:lnTo>
                <a:lnTo>
                  <a:pt x="2016" y="2037"/>
                </a:lnTo>
                <a:close/>
                <a:moveTo>
                  <a:pt x="2016" y="2219"/>
                </a:moveTo>
                <a:lnTo>
                  <a:pt x="2016" y="2219"/>
                </a:lnTo>
                <a:lnTo>
                  <a:pt x="2006" y="2218"/>
                </a:lnTo>
                <a:lnTo>
                  <a:pt x="1998" y="2215"/>
                </a:lnTo>
                <a:lnTo>
                  <a:pt x="1991" y="2209"/>
                </a:lnTo>
                <a:lnTo>
                  <a:pt x="1984" y="2201"/>
                </a:lnTo>
                <a:lnTo>
                  <a:pt x="1978" y="2192"/>
                </a:lnTo>
                <a:lnTo>
                  <a:pt x="1974" y="2181"/>
                </a:lnTo>
                <a:lnTo>
                  <a:pt x="1972" y="2168"/>
                </a:lnTo>
                <a:lnTo>
                  <a:pt x="1972" y="2155"/>
                </a:lnTo>
                <a:lnTo>
                  <a:pt x="1972" y="2155"/>
                </a:lnTo>
                <a:lnTo>
                  <a:pt x="1972" y="2140"/>
                </a:lnTo>
                <a:lnTo>
                  <a:pt x="1974" y="2128"/>
                </a:lnTo>
                <a:lnTo>
                  <a:pt x="1978" y="2117"/>
                </a:lnTo>
                <a:lnTo>
                  <a:pt x="1984" y="2107"/>
                </a:lnTo>
                <a:lnTo>
                  <a:pt x="1991" y="2099"/>
                </a:lnTo>
                <a:lnTo>
                  <a:pt x="1998" y="2093"/>
                </a:lnTo>
                <a:lnTo>
                  <a:pt x="2006" y="2090"/>
                </a:lnTo>
                <a:lnTo>
                  <a:pt x="2016" y="2089"/>
                </a:lnTo>
                <a:lnTo>
                  <a:pt x="2016" y="2089"/>
                </a:lnTo>
                <a:lnTo>
                  <a:pt x="2026" y="2090"/>
                </a:lnTo>
                <a:lnTo>
                  <a:pt x="2035" y="2093"/>
                </a:lnTo>
                <a:lnTo>
                  <a:pt x="2043" y="2099"/>
                </a:lnTo>
                <a:lnTo>
                  <a:pt x="2050" y="2107"/>
                </a:lnTo>
                <a:lnTo>
                  <a:pt x="2055" y="2117"/>
                </a:lnTo>
                <a:lnTo>
                  <a:pt x="2059" y="2128"/>
                </a:lnTo>
                <a:lnTo>
                  <a:pt x="2061" y="2140"/>
                </a:lnTo>
                <a:lnTo>
                  <a:pt x="2062" y="2155"/>
                </a:lnTo>
                <a:lnTo>
                  <a:pt x="2062" y="2155"/>
                </a:lnTo>
                <a:lnTo>
                  <a:pt x="2061" y="2168"/>
                </a:lnTo>
                <a:lnTo>
                  <a:pt x="2059" y="2181"/>
                </a:lnTo>
                <a:lnTo>
                  <a:pt x="2055" y="2192"/>
                </a:lnTo>
                <a:lnTo>
                  <a:pt x="2050" y="2201"/>
                </a:lnTo>
                <a:lnTo>
                  <a:pt x="2043" y="2209"/>
                </a:lnTo>
                <a:lnTo>
                  <a:pt x="2035" y="2215"/>
                </a:lnTo>
                <a:lnTo>
                  <a:pt x="2026" y="2218"/>
                </a:lnTo>
                <a:lnTo>
                  <a:pt x="2016" y="2219"/>
                </a:lnTo>
                <a:lnTo>
                  <a:pt x="2016" y="2219"/>
                </a:lnTo>
                <a:close/>
                <a:moveTo>
                  <a:pt x="843" y="2116"/>
                </a:moveTo>
                <a:lnTo>
                  <a:pt x="910" y="2266"/>
                </a:lnTo>
                <a:lnTo>
                  <a:pt x="849" y="2266"/>
                </a:lnTo>
                <a:lnTo>
                  <a:pt x="803" y="2162"/>
                </a:lnTo>
                <a:lnTo>
                  <a:pt x="772" y="2199"/>
                </a:lnTo>
                <a:lnTo>
                  <a:pt x="772" y="2266"/>
                </a:lnTo>
                <a:lnTo>
                  <a:pt x="718" y="2266"/>
                </a:lnTo>
                <a:lnTo>
                  <a:pt x="718" y="1977"/>
                </a:lnTo>
                <a:lnTo>
                  <a:pt x="772" y="1949"/>
                </a:lnTo>
                <a:lnTo>
                  <a:pt x="772" y="2128"/>
                </a:lnTo>
                <a:lnTo>
                  <a:pt x="772" y="2128"/>
                </a:lnTo>
                <a:lnTo>
                  <a:pt x="794" y="2099"/>
                </a:lnTo>
                <a:lnTo>
                  <a:pt x="838" y="2042"/>
                </a:lnTo>
                <a:lnTo>
                  <a:pt x="903" y="2042"/>
                </a:lnTo>
                <a:lnTo>
                  <a:pt x="843" y="2116"/>
                </a:lnTo>
                <a:close/>
                <a:moveTo>
                  <a:pt x="1105" y="2266"/>
                </a:moveTo>
                <a:lnTo>
                  <a:pt x="1049" y="2266"/>
                </a:lnTo>
                <a:lnTo>
                  <a:pt x="1049" y="2042"/>
                </a:lnTo>
                <a:lnTo>
                  <a:pt x="1105" y="2042"/>
                </a:lnTo>
                <a:lnTo>
                  <a:pt x="1105" y="2061"/>
                </a:lnTo>
                <a:lnTo>
                  <a:pt x="1105" y="2061"/>
                </a:lnTo>
                <a:lnTo>
                  <a:pt x="1110" y="2056"/>
                </a:lnTo>
                <a:lnTo>
                  <a:pt x="1116" y="2051"/>
                </a:lnTo>
                <a:lnTo>
                  <a:pt x="1123" y="2047"/>
                </a:lnTo>
                <a:lnTo>
                  <a:pt x="1129" y="2043"/>
                </a:lnTo>
                <a:lnTo>
                  <a:pt x="1137" y="2041"/>
                </a:lnTo>
                <a:lnTo>
                  <a:pt x="1145" y="2039"/>
                </a:lnTo>
                <a:lnTo>
                  <a:pt x="1153" y="2038"/>
                </a:lnTo>
                <a:lnTo>
                  <a:pt x="1162" y="2037"/>
                </a:lnTo>
                <a:lnTo>
                  <a:pt x="1162" y="2037"/>
                </a:lnTo>
                <a:lnTo>
                  <a:pt x="1172" y="2038"/>
                </a:lnTo>
                <a:lnTo>
                  <a:pt x="1180" y="2039"/>
                </a:lnTo>
                <a:lnTo>
                  <a:pt x="1188" y="2041"/>
                </a:lnTo>
                <a:lnTo>
                  <a:pt x="1197" y="2043"/>
                </a:lnTo>
                <a:lnTo>
                  <a:pt x="1204" y="2048"/>
                </a:lnTo>
                <a:lnTo>
                  <a:pt x="1210" y="2052"/>
                </a:lnTo>
                <a:lnTo>
                  <a:pt x="1217" y="2057"/>
                </a:lnTo>
                <a:lnTo>
                  <a:pt x="1223" y="2063"/>
                </a:lnTo>
                <a:lnTo>
                  <a:pt x="1227" y="2070"/>
                </a:lnTo>
                <a:lnTo>
                  <a:pt x="1232" y="2078"/>
                </a:lnTo>
                <a:lnTo>
                  <a:pt x="1235" y="2086"/>
                </a:lnTo>
                <a:lnTo>
                  <a:pt x="1238" y="2096"/>
                </a:lnTo>
                <a:lnTo>
                  <a:pt x="1240" y="2106"/>
                </a:lnTo>
                <a:lnTo>
                  <a:pt x="1242" y="2116"/>
                </a:lnTo>
                <a:lnTo>
                  <a:pt x="1243" y="2127"/>
                </a:lnTo>
                <a:lnTo>
                  <a:pt x="1244" y="2139"/>
                </a:lnTo>
                <a:lnTo>
                  <a:pt x="1244" y="2266"/>
                </a:lnTo>
                <a:lnTo>
                  <a:pt x="1188" y="2266"/>
                </a:lnTo>
                <a:lnTo>
                  <a:pt x="1188" y="2142"/>
                </a:lnTo>
                <a:lnTo>
                  <a:pt x="1188" y="2142"/>
                </a:lnTo>
                <a:lnTo>
                  <a:pt x="1187" y="2130"/>
                </a:lnTo>
                <a:lnTo>
                  <a:pt x="1186" y="2118"/>
                </a:lnTo>
                <a:lnTo>
                  <a:pt x="1183" y="2109"/>
                </a:lnTo>
                <a:lnTo>
                  <a:pt x="1178" y="2101"/>
                </a:lnTo>
                <a:lnTo>
                  <a:pt x="1173" y="2096"/>
                </a:lnTo>
                <a:lnTo>
                  <a:pt x="1166" y="2091"/>
                </a:lnTo>
                <a:lnTo>
                  <a:pt x="1157" y="2089"/>
                </a:lnTo>
                <a:lnTo>
                  <a:pt x="1147" y="2088"/>
                </a:lnTo>
                <a:lnTo>
                  <a:pt x="1147" y="2088"/>
                </a:lnTo>
                <a:lnTo>
                  <a:pt x="1138" y="2089"/>
                </a:lnTo>
                <a:lnTo>
                  <a:pt x="1129" y="2091"/>
                </a:lnTo>
                <a:lnTo>
                  <a:pt x="1122" y="2096"/>
                </a:lnTo>
                <a:lnTo>
                  <a:pt x="1116" y="2102"/>
                </a:lnTo>
                <a:lnTo>
                  <a:pt x="1112" y="2109"/>
                </a:lnTo>
                <a:lnTo>
                  <a:pt x="1108" y="2119"/>
                </a:lnTo>
                <a:lnTo>
                  <a:pt x="1106" y="2130"/>
                </a:lnTo>
                <a:lnTo>
                  <a:pt x="1105" y="2142"/>
                </a:lnTo>
                <a:lnTo>
                  <a:pt x="1105" y="2266"/>
                </a:lnTo>
                <a:close/>
                <a:moveTo>
                  <a:pt x="1418" y="2058"/>
                </a:moveTo>
                <a:lnTo>
                  <a:pt x="1418" y="2058"/>
                </a:lnTo>
                <a:lnTo>
                  <a:pt x="1413" y="2053"/>
                </a:lnTo>
                <a:lnTo>
                  <a:pt x="1407" y="2049"/>
                </a:lnTo>
                <a:lnTo>
                  <a:pt x="1402" y="2046"/>
                </a:lnTo>
                <a:lnTo>
                  <a:pt x="1395" y="2042"/>
                </a:lnTo>
                <a:lnTo>
                  <a:pt x="1388" y="2040"/>
                </a:lnTo>
                <a:lnTo>
                  <a:pt x="1382" y="2039"/>
                </a:lnTo>
                <a:lnTo>
                  <a:pt x="1375" y="2038"/>
                </a:lnTo>
                <a:lnTo>
                  <a:pt x="1368" y="2037"/>
                </a:lnTo>
                <a:lnTo>
                  <a:pt x="1368" y="2037"/>
                </a:lnTo>
                <a:lnTo>
                  <a:pt x="1358" y="2038"/>
                </a:lnTo>
                <a:lnTo>
                  <a:pt x="1349" y="2039"/>
                </a:lnTo>
                <a:lnTo>
                  <a:pt x="1340" y="2041"/>
                </a:lnTo>
                <a:lnTo>
                  <a:pt x="1332" y="2046"/>
                </a:lnTo>
                <a:lnTo>
                  <a:pt x="1324" y="2049"/>
                </a:lnTo>
                <a:lnTo>
                  <a:pt x="1317" y="2055"/>
                </a:lnTo>
                <a:lnTo>
                  <a:pt x="1310" y="2061"/>
                </a:lnTo>
                <a:lnTo>
                  <a:pt x="1304" y="2068"/>
                </a:lnTo>
                <a:lnTo>
                  <a:pt x="1298" y="2076"/>
                </a:lnTo>
                <a:lnTo>
                  <a:pt x="1294" y="2085"/>
                </a:lnTo>
                <a:lnTo>
                  <a:pt x="1289" y="2093"/>
                </a:lnTo>
                <a:lnTo>
                  <a:pt x="1286" y="2105"/>
                </a:lnTo>
                <a:lnTo>
                  <a:pt x="1284" y="2115"/>
                </a:lnTo>
                <a:lnTo>
                  <a:pt x="1282" y="2127"/>
                </a:lnTo>
                <a:lnTo>
                  <a:pt x="1280" y="2139"/>
                </a:lnTo>
                <a:lnTo>
                  <a:pt x="1280" y="2151"/>
                </a:lnTo>
                <a:lnTo>
                  <a:pt x="1280" y="2151"/>
                </a:lnTo>
                <a:lnTo>
                  <a:pt x="1280" y="2166"/>
                </a:lnTo>
                <a:lnTo>
                  <a:pt x="1282" y="2178"/>
                </a:lnTo>
                <a:lnTo>
                  <a:pt x="1284" y="2190"/>
                </a:lnTo>
                <a:lnTo>
                  <a:pt x="1286" y="2202"/>
                </a:lnTo>
                <a:lnTo>
                  <a:pt x="1289" y="2212"/>
                </a:lnTo>
                <a:lnTo>
                  <a:pt x="1294" y="2222"/>
                </a:lnTo>
                <a:lnTo>
                  <a:pt x="1298" y="2231"/>
                </a:lnTo>
                <a:lnTo>
                  <a:pt x="1304" y="2239"/>
                </a:lnTo>
                <a:lnTo>
                  <a:pt x="1309" y="2247"/>
                </a:lnTo>
                <a:lnTo>
                  <a:pt x="1316" y="2252"/>
                </a:lnTo>
                <a:lnTo>
                  <a:pt x="1323" y="2258"/>
                </a:lnTo>
                <a:lnTo>
                  <a:pt x="1330" y="2262"/>
                </a:lnTo>
                <a:lnTo>
                  <a:pt x="1339" y="2266"/>
                </a:lnTo>
                <a:lnTo>
                  <a:pt x="1348" y="2269"/>
                </a:lnTo>
                <a:lnTo>
                  <a:pt x="1357" y="2270"/>
                </a:lnTo>
                <a:lnTo>
                  <a:pt x="1367" y="2271"/>
                </a:lnTo>
                <a:lnTo>
                  <a:pt x="1367" y="2271"/>
                </a:lnTo>
                <a:lnTo>
                  <a:pt x="1374" y="2270"/>
                </a:lnTo>
                <a:lnTo>
                  <a:pt x="1382" y="2269"/>
                </a:lnTo>
                <a:lnTo>
                  <a:pt x="1388" y="2268"/>
                </a:lnTo>
                <a:lnTo>
                  <a:pt x="1395" y="2266"/>
                </a:lnTo>
                <a:lnTo>
                  <a:pt x="1401" y="2262"/>
                </a:lnTo>
                <a:lnTo>
                  <a:pt x="1407" y="2259"/>
                </a:lnTo>
                <a:lnTo>
                  <a:pt x="1413" y="2255"/>
                </a:lnTo>
                <a:lnTo>
                  <a:pt x="1418" y="2249"/>
                </a:lnTo>
                <a:lnTo>
                  <a:pt x="1418" y="2255"/>
                </a:lnTo>
                <a:lnTo>
                  <a:pt x="1418" y="2255"/>
                </a:lnTo>
                <a:lnTo>
                  <a:pt x="1418" y="2264"/>
                </a:lnTo>
                <a:lnTo>
                  <a:pt x="1417" y="2274"/>
                </a:lnTo>
                <a:lnTo>
                  <a:pt x="1414" y="2284"/>
                </a:lnTo>
                <a:lnTo>
                  <a:pt x="1412" y="2288"/>
                </a:lnTo>
                <a:lnTo>
                  <a:pt x="1409" y="2293"/>
                </a:lnTo>
                <a:lnTo>
                  <a:pt x="1405" y="2297"/>
                </a:lnTo>
                <a:lnTo>
                  <a:pt x="1401" y="2301"/>
                </a:lnTo>
                <a:lnTo>
                  <a:pt x="1395" y="2305"/>
                </a:lnTo>
                <a:lnTo>
                  <a:pt x="1388" y="2308"/>
                </a:lnTo>
                <a:lnTo>
                  <a:pt x="1379" y="2310"/>
                </a:lnTo>
                <a:lnTo>
                  <a:pt x="1370" y="2313"/>
                </a:lnTo>
                <a:lnTo>
                  <a:pt x="1359" y="2314"/>
                </a:lnTo>
                <a:lnTo>
                  <a:pt x="1346" y="2314"/>
                </a:lnTo>
                <a:lnTo>
                  <a:pt x="1344" y="2314"/>
                </a:lnTo>
                <a:lnTo>
                  <a:pt x="1364" y="2357"/>
                </a:lnTo>
                <a:lnTo>
                  <a:pt x="1365" y="2357"/>
                </a:lnTo>
                <a:lnTo>
                  <a:pt x="1365" y="2357"/>
                </a:lnTo>
                <a:lnTo>
                  <a:pt x="1378" y="2357"/>
                </a:lnTo>
                <a:lnTo>
                  <a:pt x="1390" y="2356"/>
                </a:lnTo>
                <a:lnTo>
                  <a:pt x="1402" y="2353"/>
                </a:lnTo>
                <a:lnTo>
                  <a:pt x="1413" y="2350"/>
                </a:lnTo>
                <a:lnTo>
                  <a:pt x="1423" y="2346"/>
                </a:lnTo>
                <a:lnTo>
                  <a:pt x="1432" y="2341"/>
                </a:lnTo>
                <a:lnTo>
                  <a:pt x="1439" y="2336"/>
                </a:lnTo>
                <a:lnTo>
                  <a:pt x="1446" y="2329"/>
                </a:lnTo>
                <a:lnTo>
                  <a:pt x="1453" y="2321"/>
                </a:lnTo>
                <a:lnTo>
                  <a:pt x="1458" y="2314"/>
                </a:lnTo>
                <a:lnTo>
                  <a:pt x="1463" y="2304"/>
                </a:lnTo>
                <a:lnTo>
                  <a:pt x="1466" y="2294"/>
                </a:lnTo>
                <a:lnTo>
                  <a:pt x="1469" y="2284"/>
                </a:lnTo>
                <a:lnTo>
                  <a:pt x="1472" y="2271"/>
                </a:lnTo>
                <a:lnTo>
                  <a:pt x="1473" y="2259"/>
                </a:lnTo>
                <a:lnTo>
                  <a:pt x="1473" y="2246"/>
                </a:lnTo>
                <a:lnTo>
                  <a:pt x="1473" y="2042"/>
                </a:lnTo>
                <a:lnTo>
                  <a:pt x="1418" y="2042"/>
                </a:lnTo>
                <a:lnTo>
                  <a:pt x="1418" y="2058"/>
                </a:lnTo>
                <a:close/>
                <a:moveTo>
                  <a:pt x="1418" y="2110"/>
                </a:moveTo>
                <a:lnTo>
                  <a:pt x="1418" y="2198"/>
                </a:lnTo>
                <a:lnTo>
                  <a:pt x="1418" y="2198"/>
                </a:lnTo>
                <a:lnTo>
                  <a:pt x="1411" y="2206"/>
                </a:lnTo>
                <a:lnTo>
                  <a:pt x="1403" y="2214"/>
                </a:lnTo>
                <a:lnTo>
                  <a:pt x="1397" y="2216"/>
                </a:lnTo>
                <a:lnTo>
                  <a:pt x="1392" y="2218"/>
                </a:lnTo>
                <a:lnTo>
                  <a:pt x="1386" y="2219"/>
                </a:lnTo>
                <a:lnTo>
                  <a:pt x="1378" y="2220"/>
                </a:lnTo>
                <a:lnTo>
                  <a:pt x="1378" y="2220"/>
                </a:lnTo>
                <a:lnTo>
                  <a:pt x="1372" y="2219"/>
                </a:lnTo>
                <a:lnTo>
                  <a:pt x="1364" y="2217"/>
                </a:lnTo>
                <a:lnTo>
                  <a:pt x="1357" y="2214"/>
                </a:lnTo>
                <a:lnTo>
                  <a:pt x="1350" y="2207"/>
                </a:lnTo>
                <a:lnTo>
                  <a:pt x="1345" y="2198"/>
                </a:lnTo>
                <a:lnTo>
                  <a:pt x="1340" y="2186"/>
                </a:lnTo>
                <a:lnTo>
                  <a:pt x="1338" y="2170"/>
                </a:lnTo>
                <a:lnTo>
                  <a:pt x="1337" y="2150"/>
                </a:lnTo>
                <a:lnTo>
                  <a:pt x="1337" y="2150"/>
                </a:lnTo>
                <a:lnTo>
                  <a:pt x="1338" y="2133"/>
                </a:lnTo>
                <a:lnTo>
                  <a:pt x="1340" y="2119"/>
                </a:lnTo>
                <a:lnTo>
                  <a:pt x="1345" y="2108"/>
                </a:lnTo>
                <a:lnTo>
                  <a:pt x="1350" y="2100"/>
                </a:lnTo>
                <a:lnTo>
                  <a:pt x="1357" y="2095"/>
                </a:lnTo>
                <a:lnTo>
                  <a:pt x="1364" y="2090"/>
                </a:lnTo>
                <a:lnTo>
                  <a:pt x="1372" y="2089"/>
                </a:lnTo>
                <a:lnTo>
                  <a:pt x="1378" y="2088"/>
                </a:lnTo>
                <a:lnTo>
                  <a:pt x="1378" y="2088"/>
                </a:lnTo>
                <a:lnTo>
                  <a:pt x="1386" y="2089"/>
                </a:lnTo>
                <a:lnTo>
                  <a:pt x="1393" y="2090"/>
                </a:lnTo>
                <a:lnTo>
                  <a:pt x="1398" y="2092"/>
                </a:lnTo>
                <a:lnTo>
                  <a:pt x="1404" y="2096"/>
                </a:lnTo>
                <a:lnTo>
                  <a:pt x="1408" y="2099"/>
                </a:lnTo>
                <a:lnTo>
                  <a:pt x="1412" y="2102"/>
                </a:lnTo>
                <a:lnTo>
                  <a:pt x="1418" y="2110"/>
                </a:lnTo>
                <a:lnTo>
                  <a:pt x="1418" y="2110"/>
                </a:lnTo>
                <a:close/>
                <a:moveTo>
                  <a:pt x="945" y="2042"/>
                </a:moveTo>
                <a:lnTo>
                  <a:pt x="1000" y="2042"/>
                </a:lnTo>
                <a:lnTo>
                  <a:pt x="1000" y="2141"/>
                </a:lnTo>
                <a:lnTo>
                  <a:pt x="1000" y="2266"/>
                </a:lnTo>
                <a:lnTo>
                  <a:pt x="945" y="2266"/>
                </a:lnTo>
                <a:lnTo>
                  <a:pt x="945" y="2042"/>
                </a:lnTo>
                <a:close/>
                <a:moveTo>
                  <a:pt x="1000" y="1982"/>
                </a:moveTo>
                <a:lnTo>
                  <a:pt x="1000" y="2010"/>
                </a:lnTo>
                <a:lnTo>
                  <a:pt x="945" y="2010"/>
                </a:lnTo>
                <a:lnTo>
                  <a:pt x="945" y="1954"/>
                </a:lnTo>
                <a:lnTo>
                  <a:pt x="1000" y="1954"/>
                </a:lnTo>
                <a:lnTo>
                  <a:pt x="1000" y="1982"/>
                </a:lnTo>
                <a:close/>
                <a:moveTo>
                  <a:pt x="2325" y="1977"/>
                </a:moveTo>
                <a:lnTo>
                  <a:pt x="2381" y="1949"/>
                </a:lnTo>
                <a:lnTo>
                  <a:pt x="2381" y="2151"/>
                </a:lnTo>
                <a:lnTo>
                  <a:pt x="2381" y="2266"/>
                </a:lnTo>
                <a:lnTo>
                  <a:pt x="2325" y="2266"/>
                </a:lnTo>
                <a:lnTo>
                  <a:pt x="2325" y="1977"/>
                </a:lnTo>
                <a:close/>
                <a:moveTo>
                  <a:pt x="400" y="762"/>
                </a:moveTo>
                <a:lnTo>
                  <a:pt x="856" y="762"/>
                </a:lnTo>
                <a:lnTo>
                  <a:pt x="856" y="498"/>
                </a:lnTo>
                <a:lnTo>
                  <a:pt x="400" y="498"/>
                </a:lnTo>
                <a:lnTo>
                  <a:pt x="400" y="290"/>
                </a:lnTo>
                <a:lnTo>
                  <a:pt x="905" y="290"/>
                </a:lnTo>
                <a:lnTo>
                  <a:pt x="737" y="0"/>
                </a:lnTo>
                <a:lnTo>
                  <a:pt x="22" y="0"/>
                </a:lnTo>
                <a:lnTo>
                  <a:pt x="22" y="1261"/>
                </a:lnTo>
                <a:lnTo>
                  <a:pt x="1030" y="1261"/>
                </a:lnTo>
                <a:lnTo>
                  <a:pt x="1030" y="970"/>
                </a:lnTo>
                <a:lnTo>
                  <a:pt x="400" y="970"/>
                </a:lnTo>
                <a:lnTo>
                  <a:pt x="400" y="762"/>
                </a:lnTo>
                <a:close/>
                <a:moveTo>
                  <a:pt x="1702" y="0"/>
                </a:moveTo>
                <a:lnTo>
                  <a:pt x="1487" y="411"/>
                </a:lnTo>
                <a:lnTo>
                  <a:pt x="1274" y="0"/>
                </a:lnTo>
                <a:lnTo>
                  <a:pt x="856" y="0"/>
                </a:lnTo>
                <a:lnTo>
                  <a:pt x="1296" y="762"/>
                </a:lnTo>
                <a:lnTo>
                  <a:pt x="1296" y="1261"/>
                </a:lnTo>
                <a:lnTo>
                  <a:pt x="1673" y="1261"/>
                </a:lnTo>
                <a:lnTo>
                  <a:pt x="1673" y="762"/>
                </a:lnTo>
                <a:lnTo>
                  <a:pt x="2114" y="0"/>
                </a:lnTo>
                <a:lnTo>
                  <a:pt x="170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F0D6307-6081-4397-BE15-804F776796D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>
            <a:off x="6843642" y="1384302"/>
            <a:ext cx="4654717" cy="323965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14287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s-ES" sz="1799">
              <a:solidFill>
                <a:prstClr val="black"/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39807BB-DB28-43BF-A9ED-093B0BE3FC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34183" y="2576463"/>
            <a:ext cx="4073634" cy="547866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30E3E47-D525-476A-B2A1-2293DF61F3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34178" y="3525028"/>
            <a:ext cx="4073644" cy="41118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02294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 noChangeAspect="1"/>
          </p:cNvSpPr>
          <p:nvPr userDrawn="1"/>
        </p:nvSpPr>
        <p:spPr bwMode="gray">
          <a:xfrm>
            <a:off x="7228119" y="0"/>
            <a:ext cx="4425829" cy="401343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2419 h 10007"/>
              <a:gd name="connsiteX4" fmla="*/ 6 w 10000"/>
              <a:gd name="connsiteY4" fmla="*/ 0 h 10007"/>
              <a:gd name="connsiteX0" fmla="*/ 0 w 10013"/>
              <a:gd name="connsiteY0" fmla="*/ 0 h 7618"/>
              <a:gd name="connsiteX1" fmla="*/ 13 w 10013"/>
              <a:gd name="connsiteY1" fmla="*/ 7618 h 7618"/>
              <a:gd name="connsiteX2" fmla="*/ 10013 w 10013"/>
              <a:gd name="connsiteY2" fmla="*/ 5522 h 7618"/>
              <a:gd name="connsiteX3" fmla="*/ 10013 w 10013"/>
              <a:gd name="connsiteY3" fmla="*/ 30 h 7618"/>
              <a:gd name="connsiteX4" fmla="*/ 0 w 10013"/>
              <a:gd name="connsiteY4" fmla="*/ 0 h 7618"/>
              <a:gd name="connsiteX0" fmla="*/ 0 w 10000"/>
              <a:gd name="connsiteY0" fmla="*/ 0 h 10000"/>
              <a:gd name="connsiteX1" fmla="*/ 13 w 10000"/>
              <a:gd name="connsiteY1" fmla="*/ 10000 h 10000"/>
              <a:gd name="connsiteX2" fmla="*/ 10000 w 10000"/>
              <a:gd name="connsiteY2" fmla="*/ 7249 h 10000"/>
              <a:gd name="connsiteX3" fmla="*/ 10000 w 10000"/>
              <a:gd name="connsiteY3" fmla="*/ 2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3 w 10000"/>
              <a:gd name="connsiteY1" fmla="*/ 10000 h 10000"/>
              <a:gd name="connsiteX2" fmla="*/ 10000 w 10000"/>
              <a:gd name="connsiteY2" fmla="*/ 7958 h 10000"/>
              <a:gd name="connsiteX3" fmla="*/ 10000 w 10000"/>
              <a:gd name="connsiteY3" fmla="*/ 2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-2" y="3095"/>
                  <a:pt x="15" y="6906"/>
                  <a:pt x="13" y="10000"/>
                </a:cubicBezTo>
                <a:lnTo>
                  <a:pt x="10000" y="7958"/>
                </a:lnTo>
                <a:lnTo>
                  <a:pt x="10000" y="2"/>
                </a:lnTo>
                <a:lnTo>
                  <a:pt x="0" y="0"/>
                </a:lnTo>
                <a:close/>
              </a:path>
            </a:pathLst>
          </a:custGeom>
          <a:solidFill>
            <a:srgbClr val="FFE600">
              <a:alpha val="8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prstClr val="black"/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95773" y="5507164"/>
            <a:ext cx="3959410" cy="619125"/>
            <a:chOff x="593416" y="5888039"/>
            <a:chExt cx="3780670" cy="619125"/>
          </a:xfrm>
        </p:grpSpPr>
        <p:sp>
          <p:nvSpPr>
            <p:cNvPr id="14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593416" y="5888039"/>
              <a:ext cx="3779457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 userDrawn="1"/>
          </p:nvSpPr>
          <p:spPr bwMode="auto">
            <a:xfrm>
              <a:off x="604523" y="5891214"/>
              <a:ext cx="98374" cy="100013"/>
            </a:xfrm>
            <a:prstGeom prst="rect">
              <a:avLst/>
            </a:prstGeom>
            <a:solidFill>
              <a:srgbClr val="FE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777470" y="5891214"/>
              <a:ext cx="98374" cy="100013"/>
            </a:xfrm>
            <a:prstGeom prst="rect">
              <a:avLst/>
            </a:prstGeom>
            <a:solidFill>
              <a:srgbClr val="FE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950418" y="5891214"/>
              <a:ext cx="98374" cy="100013"/>
            </a:xfrm>
            <a:prstGeom prst="rect">
              <a:avLst/>
            </a:prstGeom>
            <a:solidFill>
              <a:srgbClr val="FE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 userDrawn="1"/>
          </p:nvSpPr>
          <p:spPr bwMode="auto">
            <a:xfrm>
              <a:off x="593416" y="6051552"/>
              <a:ext cx="10402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 userDrawn="1"/>
          </p:nvSpPr>
          <p:spPr bwMode="auto">
            <a:xfrm>
              <a:off x="696549" y="6051552"/>
              <a:ext cx="33674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he b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 userDrawn="1"/>
          </p:nvSpPr>
          <p:spPr bwMode="auto">
            <a:xfrm>
              <a:off x="1036097" y="6051552"/>
              <a:ext cx="9489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 userDrawn="1"/>
          </p:nvSpPr>
          <p:spPr bwMode="auto">
            <a:xfrm>
              <a:off x="1131297" y="6051552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 userDrawn="1"/>
          </p:nvSpPr>
          <p:spPr bwMode="auto">
            <a:xfrm>
              <a:off x="1197939" y="6051552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 userDrawn="1"/>
          </p:nvSpPr>
          <p:spPr bwMode="auto">
            <a:xfrm>
              <a:off x="1262992" y="6051552"/>
              <a:ext cx="725145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r the qu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 userDrawn="1"/>
          </p:nvSpPr>
          <p:spPr bwMode="auto">
            <a:xfrm>
              <a:off x="1986515" y="6051552"/>
              <a:ext cx="181930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s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 userDrawn="1"/>
          </p:nvSpPr>
          <p:spPr bwMode="auto">
            <a:xfrm>
              <a:off x="2165810" y="6051552"/>
              <a:ext cx="371752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ion.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 userDrawn="1"/>
          </p:nvSpPr>
          <p:spPr bwMode="auto">
            <a:xfrm>
              <a:off x="2575171" y="6051552"/>
              <a:ext cx="10402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 userDrawn="1"/>
          </p:nvSpPr>
          <p:spPr bwMode="auto">
            <a:xfrm>
              <a:off x="2679892" y="6051552"/>
              <a:ext cx="33674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he b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 userDrawn="1"/>
          </p:nvSpPr>
          <p:spPr bwMode="auto">
            <a:xfrm>
              <a:off x="3019440" y="6051552"/>
              <a:ext cx="9489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 userDrawn="1"/>
          </p:nvSpPr>
          <p:spPr bwMode="auto">
            <a:xfrm>
              <a:off x="3114640" y="6051552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 userDrawn="1"/>
          </p:nvSpPr>
          <p:spPr bwMode="auto">
            <a:xfrm>
              <a:off x="3181280" y="6051552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 userDrawn="1"/>
          </p:nvSpPr>
          <p:spPr bwMode="auto">
            <a:xfrm>
              <a:off x="3246334" y="6051552"/>
              <a:ext cx="723616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r the an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 userDrawn="1"/>
          </p:nvSpPr>
          <p:spPr bwMode="auto">
            <a:xfrm>
              <a:off x="3965098" y="6051552"/>
              <a:ext cx="8567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s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auto">
            <a:xfrm>
              <a:off x="4047605" y="6051552"/>
              <a:ext cx="1270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w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 userDrawn="1"/>
          </p:nvSpPr>
          <p:spPr bwMode="auto">
            <a:xfrm>
              <a:off x="4174538" y="6051552"/>
              <a:ext cx="9489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4271326" y="6051552"/>
              <a:ext cx="73432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r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 userDrawn="1"/>
          </p:nvSpPr>
          <p:spPr bwMode="auto">
            <a:xfrm>
              <a:off x="4320513" y="6051552"/>
              <a:ext cx="53573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.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 userDrawn="1"/>
          </p:nvSpPr>
          <p:spPr bwMode="auto">
            <a:xfrm>
              <a:off x="593416" y="6272214"/>
              <a:ext cx="10402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8" name="Rectangle 37"/>
            <p:cNvSpPr>
              <a:spLocks noChangeArrowheads="1"/>
            </p:cNvSpPr>
            <p:nvPr userDrawn="1"/>
          </p:nvSpPr>
          <p:spPr bwMode="auto">
            <a:xfrm>
              <a:off x="696549" y="6272214"/>
              <a:ext cx="33674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he b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39" name="Rectangle 38"/>
            <p:cNvSpPr>
              <a:spLocks noChangeArrowheads="1"/>
            </p:cNvSpPr>
            <p:nvPr userDrawn="1"/>
          </p:nvSpPr>
          <p:spPr bwMode="auto">
            <a:xfrm>
              <a:off x="1036097" y="6272214"/>
              <a:ext cx="94899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0" name="Rectangle 39"/>
            <p:cNvSpPr>
              <a:spLocks noChangeArrowheads="1"/>
            </p:cNvSpPr>
            <p:nvPr userDrawn="1"/>
          </p:nvSpPr>
          <p:spPr bwMode="auto">
            <a:xfrm>
              <a:off x="1131297" y="6272214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 userDrawn="1"/>
          </p:nvSpPr>
          <p:spPr bwMode="auto">
            <a:xfrm>
              <a:off x="1197939" y="6272214"/>
              <a:ext cx="688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t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 userDrawn="1"/>
          </p:nvSpPr>
          <p:spPr bwMode="auto">
            <a:xfrm>
              <a:off x="1262992" y="6272214"/>
              <a:ext cx="480370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er the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3" name="Rectangle 42"/>
            <p:cNvSpPr>
              <a:spLocks noChangeArrowheads="1"/>
            </p:cNvSpPr>
            <p:nvPr userDrawn="1"/>
          </p:nvSpPr>
          <p:spPr bwMode="auto">
            <a:xfrm>
              <a:off x="1788182" y="6272214"/>
              <a:ext cx="1270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w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4" name="Rectangle 43"/>
            <p:cNvSpPr>
              <a:spLocks noChangeArrowheads="1"/>
            </p:cNvSpPr>
            <p:nvPr userDrawn="1"/>
          </p:nvSpPr>
          <p:spPr bwMode="auto">
            <a:xfrm>
              <a:off x="1915115" y="6272214"/>
              <a:ext cx="31378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orld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5" name="Rectangle 44"/>
            <p:cNvSpPr>
              <a:spLocks noChangeArrowheads="1"/>
            </p:cNvSpPr>
            <p:nvPr userDrawn="1"/>
          </p:nvSpPr>
          <p:spPr bwMode="auto">
            <a:xfrm>
              <a:off x="2275290" y="6272214"/>
              <a:ext cx="127044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w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6" name="Rectangle 45"/>
            <p:cNvSpPr>
              <a:spLocks noChangeArrowheads="1"/>
            </p:cNvSpPr>
            <p:nvPr userDrawn="1"/>
          </p:nvSpPr>
          <p:spPr bwMode="auto">
            <a:xfrm>
              <a:off x="2402224" y="6272214"/>
              <a:ext cx="169902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or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7" name="Rectangle 46"/>
            <p:cNvSpPr>
              <a:spLocks noChangeArrowheads="1"/>
            </p:cNvSpPr>
            <p:nvPr userDrawn="1"/>
          </p:nvSpPr>
          <p:spPr bwMode="auto">
            <a:xfrm>
              <a:off x="2573585" y="6272214"/>
              <a:ext cx="9026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k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8" name="Rectangle 47"/>
            <p:cNvSpPr>
              <a:spLocks noChangeArrowheads="1"/>
            </p:cNvSpPr>
            <p:nvPr userDrawn="1"/>
          </p:nvSpPr>
          <p:spPr bwMode="auto">
            <a:xfrm>
              <a:off x="2662438" y="6272214"/>
              <a:ext cx="85671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s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  <p:sp>
          <p:nvSpPr>
            <p:cNvPr id="49" name="Rectangle 48"/>
            <p:cNvSpPr>
              <a:spLocks noChangeArrowheads="1"/>
            </p:cNvSpPr>
            <p:nvPr userDrawn="1"/>
          </p:nvSpPr>
          <p:spPr bwMode="auto">
            <a:xfrm>
              <a:off x="2746533" y="6272214"/>
              <a:ext cx="53573" cy="215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398">
                  <a:solidFill>
                    <a:srgbClr val="FFFFFF"/>
                  </a:solidFill>
                  <a:latin typeface="EYInterstate" panose="02000503020000020004" pitchFamily="2" charset="0"/>
                </a:rPr>
                <a:t>.</a:t>
              </a:r>
              <a:endParaRPr lang="en-US" altLang="en-US" sz="1798">
                <a:solidFill>
                  <a:srgbClr val="FFFFFF"/>
                </a:solidFill>
              </a:endParaRPr>
            </a:p>
          </p:txBody>
        </p:sp>
      </p:grpSp>
      <p:cxnSp>
        <p:nvCxnSpPr>
          <p:cNvPr id="87" name="Straight Connector 86"/>
          <p:cNvCxnSpPr/>
          <p:nvPr userDrawn="1"/>
        </p:nvCxnSpPr>
        <p:spPr>
          <a:xfrm>
            <a:off x="7614681" y="730273"/>
            <a:ext cx="3652704" cy="0"/>
          </a:xfrm>
          <a:prstGeom prst="line">
            <a:avLst/>
          </a:prstGeom>
          <a:ln w="38100">
            <a:solidFill>
              <a:srgbClr val="40404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itle 87"/>
          <p:cNvSpPr>
            <a:spLocks noGrp="1"/>
          </p:cNvSpPr>
          <p:nvPr>
            <p:ph type="title"/>
          </p:nvPr>
        </p:nvSpPr>
        <p:spPr>
          <a:xfrm>
            <a:off x="7614681" y="1139849"/>
            <a:ext cx="3652704" cy="101756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3198" b="1" i="0">
                <a:latin typeface="EYInterstate" charset="0"/>
                <a:ea typeface="EYInterstate" charset="0"/>
                <a:cs typeface="EYInterstate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0" name="Text Placeholder 89"/>
          <p:cNvSpPr>
            <a:spLocks noGrp="1"/>
          </p:cNvSpPr>
          <p:nvPr>
            <p:ph type="body" sz="quarter" idx="10"/>
          </p:nvPr>
        </p:nvSpPr>
        <p:spPr>
          <a:xfrm>
            <a:off x="7614681" y="2429741"/>
            <a:ext cx="3652704" cy="68897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799" b="0" i="0">
                <a:latin typeface="EYInterstate Light" charset="0"/>
                <a:ea typeface="EYInterstate Light" charset="0"/>
                <a:cs typeface="EYInterstate Light" charset="0"/>
              </a:defRPr>
            </a:lvl1pPr>
            <a:lvl2pPr marL="456971" indent="0">
              <a:buNone/>
              <a:defRPr/>
            </a:lvl2pPr>
            <a:lvl3pPr marL="913943" indent="0">
              <a:buNone/>
              <a:defRPr/>
            </a:lvl3pPr>
            <a:lvl4pPr marL="1370914" indent="0">
              <a:buNone/>
              <a:defRPr/>
            </a:lvl4pPr>
            <a:lvl5pPr marL="18278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036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BFA91-BECA-0A46-A4B3-A3F98D6ABC22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21/12/2022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548A1-1C0B-EF47-8EAB-B9C926F2A68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n 2" descr="logo_gris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82401" y="6341113"/>
            <a:ext cx="324895" cy="38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9678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66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316009" y="685804"/>
            <a:ext cx="11618957" cy="1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39198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0904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3790779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055629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772543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06871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2876E-0E9F-442C-B994-301292D01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D43993-7112-4D34-9EB4-64A74CBD71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76CDCE-A97B-4B3A-A9F8-A0A4CA8E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D382BF-A69A-4B4C-B3EE-E690EF5A6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FA4E3F-685F-495B-B3AA-418E08FD2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227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66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316009" y="685804"/>
            <a:ext cx="11618957" cy="1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16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349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954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5855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1113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BA94B7-7BDE-4510-A417-A765301D13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88798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12929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217456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508185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900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900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14519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A8DFF-B812-49E2-8DBE-0C9BEAFCF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292B0-06BD-4331-AB75-5E29F5CFF0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8B518D-CE34-435D-A809-5C97FE8E2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5DB9B0-7CDF-4193-8117-A33A0E22D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84996-D651-4963-AFA0-749A90E8F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2AB296-E4A1-4EDF-AD22-DBEA8B010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7432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8347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507BA1-EA97-432B-8AAE-BE8FEE6245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17847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4947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055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8752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8733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7328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61250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629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3194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430DE-E246-4E6B-975C-F614500B1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D20916-2328-4B1B-AADB-226598D88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652FB3-4191-42EB-8E02-54C6DF44DF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BFBCAD-70D3-4528-B5D2-D1FCDBB9C6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F31C49-FD27-4444-BDBD-8863AA9953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79BDBB-3164-4480-968F-9A5061D08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DE9D96-242B-4DE1-93D8-8AD24BB9C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2B9187-817C-4275-9DAB-7CBCA35BB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7658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15016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3162385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10395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9341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0C2CC-9AAB-41CB-AAE7-9436BB172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6BBB9-15DC-4874-852E-B26870ABA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67FBD7-2793-49E1-994B-12DEF78E0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A730EA-3186-4859-A3AB-AEF06C5BF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2529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511164-48A5-4C65-B4FB-933151B4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05A887-B503-4054-879E-3E821E20A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46C4F9-8D8E-4A58-A693-A3275366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950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01E8A-00D5-466B-8B3B-C2DC12A9F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FFD1D-C20A-49E4-B113-B6E39B2999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F880A7-7594-4E63-B379-67759E288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2715A0-D023-4B12-857E-192B5028B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C00EE7-6D2C-45FF-A9E3-1BB7A1AB9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338B49-8E70-43E5-9C35-34B1F3B1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4880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2E31D0-6FB1-430B-827C-3DE7B8E59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D638E2-FFD3-4B5D-B53E-75A205AC3C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5D2013-0C60-420D-B27B-CB6FF4F47D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4D1A73-08B6-49F1-BBE7-5769623F9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C94FC6-D819-4544-811A-0B7C98DF9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7E6EA5-4C52-4BF0-BFDE-F9FA64787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882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oleObject" Target="../embeddings/oleObject12.bin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7315E5-2A42-4D66-9C45-0BD4429B4D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20043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07315E5-2A42-4D66-9C45-0BD4429B4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7903B-234E-447C-AC85-C82B789B0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9C569-B4CC-4765-8EFF-9E31438A58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4BDE7E-D473-4C4C-BC67-F3D90CD3E6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2F3BD-A17C-488D-91B7-9FAAA7394E20}" type="datetimeFigureOut">
              <a:rPr lang="en-GB" smtClean="0"/>
              <a:t>21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E46B1B-DE19-45E6-B039-C7449ABB9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436359-1CB8-4C39-BE59-E92D1589BB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E2503C-1B0F-4837-B84C-49A3099185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946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3100" b="1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7034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0"/>
            <a:ext cx="109728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40D6FE0-492C-46CD-AE67-92017EE5F53E}"/>
              </a:ext>
            </a:extLst>
          </p:cNvPr>
          <p:cNvSpPr txBox="1">
            <a:spLocks/>
          </p:cNvSpPr>
          <p:nvPr userDrawn="1"/>
        </p:nvSpPr>
        <p:spPr>
          <a:xfrm>
            <a:off x="5956633" y="6589847"/>
            <a:ext cx="2787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r" defTabSz="98287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660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5214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4299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644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859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607476" algn="l" defTabSz="104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128970" algn="l" defTabSz="104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650465" algn="l" defTabSz="104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171960" algn="l" defTabSz="104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8A5E10CC-F810-4D47-B2AB-C63EA11A0305}" type="slidenum">
              <a:rPr lang="es-ES" sz="900" smtClean="0">
                <a:latin typeface="Arial Nova Light" panose="020B0304020202020204" pitchFamily="34" charset="0"/>
                <a:cs typeface="Arial Nova Light" panose="020B0304020202020204" pitchFamily="34" charset="0"/>
              </a:rPr>
              <a:pPr algn="ctr">
                <a:defRPr/>
              </a:pPr>
              <a:t>‹#›</a:t>
            </a:fld>
            <a:endParaRPr lang="es-ES" sz="900">
              <a:latin typeface="Arial Nova Light" panose="020B0304020202020204" pitchFamily="34" charset="0"/>
              <a:cs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86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02" r:id="rId13"/>
    <p:sldLayoutId id="2147483703" r:id="rId14"/>
  </p:sldLayoutIdLst>
  <p:hf hdr="0" ftr="0" dt="0"/>
  <p:txStyles>
    <p:titleStyle>
      <a:lvl1pPr algn="l" defTabSz="990570" rtl="0" eaLnBrk="1" latinLnBrk="0" hangingPunct="1">
        <a:lnSpc>
          <a:spcPct val="85000"/>
        </a:lnSpc>
        <a:spcBef>
          <a:spcPct val="0"/>
        </a:spcBef>
        <a:buNone/>
        <a:defRPr sz="31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86322" indent="-386322" algn="l" defTabSz="99057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6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72644" indent="-386322" algn="l" defTabSz="99057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167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158966" indent="-386322" algn="l" defTabSz="99057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5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545288" indent="-386322" algn="l" defTabSz="99057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33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931611" indent="-386322" algn="l" defTabSz="99057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33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6D230A-D68F-4D99-B01A-B2BC592CD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96366157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56D230A-D68F-4D99-B01A-B2BC592CD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56316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283" y="6530236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3799982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384">
          <p15:clr>
            <a:srgbClr val="F26B43"/>
          </p15:clr>
        </p15:guide>
        <p15:guide id="4" pos="7302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40.png"/><Relationship Id="rId12" Type="http://schemas.openxmlformats.org/officeDocument/2006/relationships/image" Target="../media/image22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11" Type="http://schemas.openxmlformats.org/officeDocument/2006/relationships/image" Target="../media/image21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1.emf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9.png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54.svg"/><Relationship Id="rId11" Type="http://schemas.openxmlformats.org/officeDocument/2006/relationships/image" Target="../media/image57.png"/><Relationship Id="rId5" Type="http://schemas.openxmlformats.org/officeDocument/2006/relationships/image" Target="../media/image53.png"/><Relationship Id="rId10" Type="http://schemas.openxmlformats.org/officeDocument/2006/relationships/image" Target="../media/image56.png"/><Relationship Id="rId4" Type="http://schemas.openxmlformats.org/officeDocument/2006/relationships/image" Target="../media/image1.emf"/><Relationship Id="rId9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59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54.svg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6" Type="http://schemas.openxmlformats.org/officeDocument/2006/relationships/image" Target="../media/image53.png"/><Relationship Id="rId11" Type="http://schemas.openxmlformats.org/officeDocument/2006/relationships/image" Target="../media/image56.png"/><Relationship Id="rId5" Type="http://schemas.openxmlformats.org/officeDocument/2006/relationships/image" Target="../media/image57.png"/><Relationship Id="rId10" Type="http://schemas.openxmlformats.org/officeDocument/2006/relationships/image" Target="../media/image55.png"/><Relationship Id="rId4" Type="http://schemas.openxmlformats.org/officeDocument/2006/relationships/image" Target="../media/image1.emf"/><Relationship Id="rId9" Type="http://schemas.openxmlformats.org/officeDocument/2006/relationships/image" Target="../media/image20.svg"/><Relationship Id="rId1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18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7.png"/><Relationship Id="rId5" Type="http://schemas.openxmlformats.org/officeDocument/2006/relationships/tags" Target="../tags/tag25.xml"/><Relationship Id="rId10" Type="http://schemas.openxmlformats.org/officeDocument/2006/relationships/image" Target="../media/image16.svg"/><Relationship Id="rId4" Type="http://schemas.openxmlformats.org/officeDocument/2006/relationships/tags" Target="../tags/tag24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6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16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7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4.svg"/><Relationship Id="rId5" Type="http://schemas.openxmlformats.org/officeDocument/2006/relationships/diagramData" Target="../diagrams/data1.xml"/><Relationship Id="rId10" Type="http://schemas.openxmlformats.org/officeDocument/2006/relationships/image" Target="../media/image23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17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8.x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24.svg"/><Relationship Id="rId5" Type="http://schemas.openxmlformats.org/officeDocument/2006/relationships/diagramData" Target="../diagrams/data2.xml"/><Relationship Id="rId10" Type="http://schemas.openxmlformats.org/officeDocument/2006/relationships/image" Target="../media/image23.png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oleObject" Target="../embeddings/oleObject18.bin"/><Relationship Id="rId7" Type="http://schemas.openxmlformats.org/officeDocument/2006/relationships/diagramData" Target="../diagrams/data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9.xml"/><Relationship Id="rId6" Type="http://schemas.openxmlformats.org/officeDocument/2006/relationships/image" Target="../media/image24.svg"/><Relationship Id="rId11" Type="http://schemas.microsoft.com/office/2007/relationships/diagramDrawing" Target="../diagrams/drawing3.xml"/><Relationship Id="rId5" Type="http://schemas.openxmlformats.org/officeDocument/2006/relationships/image" Target="../media/image23.png"/><Relationship Id="rId10" Type="http://schemas.openxmlformats.org/officeDocument/2006/relationships/diagramColors" Target="../diagrams/colors3.xml"/><Relationship Id="rId4" Type="http://schemas.openxmlformats.org/officeDocument/2006/relationships/image" Target="../media/image1.emf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10" Type="http://schemas.openxmlformats.org/officeDocument/2006/relationships/image" Target="../media/image29.png"/><Relationship Id="rId4" Type="http://schemas.openxmlformats.org/officeDocument/2006/relationships/image" Target="../media/image1.emf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Relationship Id="rId9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2.xml"/><Relationship Id="rId6" Type="http://schemas.openxmlformats.org/officeDocument/2006/relationships/image" Target="../media/image22.svg"/><Relationship Id="rId11" Type="http://schemas.openxmlformats.org/officeDocument/2006/relationships/image" Target="../media/image37.png"/><Relationship Id="rId5" Type="http://schemas.openxmlformats.org/officeDocument/2006/relationships/image" Target="../media/image21.png"/><Relationship Id="rId10" Type="http://schemas.openxmlformats.org/officeDocument/2006/relationships/image" Target="../media/image36.png"/><Relationship Id="rId4" Type="http://schemas.openxmlformats.org/officeDocument/2006/relationships/image" Target="../media/image1.emf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7396CA-2760-46A0-AE46-7746C5EED4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05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7396CA-2760-46A0-AE46-7746C5EED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Ver las imágenes de origen">
            <a:extLst>
              <a:ext uri="{FF2B5EF4-FFF2-40B4-BE49-F238E27FC236}">
                <a16:creationId xmlns:a16="http://schemas.microsoft.com/office/drawing/2014/main" id="{D25B50F3-63F2-437E-80FD-91BD6837DD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2" r="7484" b="-1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1" name="Rectangle 1030">
            <a:extLst>
              <a:ext uri="{FF2B5EF4-FFF2-40B4-BE49-F238E27FC236}">
                <a16:creationId xmlns:a16="http://schemas.microsoft.com/office/drawing/2014/main" id="{D38A241E-0395-41E5-8607-BAA2799A4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-1" y="4892040"/>
            <a:ext cx="12191999" cy="1965960"/>
          </a:xfrm>
          <a:prstGeom prst="rect">
            <a:avLst/>
          </a:prstGeom>
          <a:solidFill>
            <a:schemeClr val="bg1">
              <a:alpha val="7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435B28-7112-46DA-A144-5AC3295B4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722" y="5154168"/>
            <a:ext cx="7965438" cy="1261872"/>
          </a:xfrm>
        </p:spPr>
        <p:txBody>
          <a:bodyPr vert="horz" anchor="ctr">
            <a:noAutofit/>
          </a:bodyPr>
          <a:lstStyle/>
          <a:p>
            <a:pPr algn="l"/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PREDICCIÓN DE LA SATISFACCIÓN DE LOS USUARIOS DE UNA AEROLÍNE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B5C54E-22DB-4113-A912-D58480C824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58200" y="5154168"/>
            <a:ext cx="2892986" cy="1261872"/>
          </a:xfrm>
        </p:spPr>
        <p:txBody>
          <a:bodyPr anchor="ctr">
            <a:normAutofit/>
          </a:bodyPr>
          <a:lstStyle/>
          <a:p>
            <a:pPr algn="r">
              <a:lnSpc>
                <a:spcPct val="7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GB" sz="2000" dirty="0">
                <a:solidFill>
                  <a:schemeClr val="tx2"/>
                </a:solidFill>
              </a:rPr>
              <a:t>	</a:t>
            </a:r>
            <a:r>
              <a:rPr lang="en-GB" sz="1400" dirty="0">
                <a:solidFill>
                  <a:schemeClr val="tx2"/>
                </a:solidFill>
              </a:rPr>
              <a:t>Anna Casanovas Riera</a:t>
            </a:r>
          </a:p>
          <a:p>
            <a:pPr algn="r">
              <a:lnSpc>
                <a:spcPct val="7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GB" sz="1400" dirty="0">
                <a:solidFill>
                  <a:schemeClr val="tx2"/>
                </a:solidFill>
              </a:rPr>
              <a:t>Proyecto final </a:t>
            </a:r>
            <a:r>
              <a:rPr lang="en-GB" sz="1400" dirty="0" err="1">
                <a:solidFill>
                  <a:schemeClr val="tx2"/>
                </a:solidFill>
              </a:rPr>
              <a:t>Ironhack</a:t>
            </a:r>
            <a:endParaRPr lang="en-GB" sz="1400" dirty="0">
              <a:solidFill>
                <a:schemeClr val="tx2"/>
              </a:solidFill>
            </a:endParaRPr>
          </a:p>
          <a:p>
            <a:pPr algn="r">
              <a:lnSpc>
                <a:spcPct val="7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GB" sz="1400" dirty="0">
                <a:solidFill>
                  <a:schemeClr val="tx2"/>
                </a:solidFill>
              </a:rPr>
              <a:t>22/12/2022</a:t>
            </a:r>
          </a:p>
        </p:txBody>
      </p: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CE352288-84AD-4CA8-BCD5-76C29D34E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138160" y="5325066"/>
            <a:ext cx="0" cy="9144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983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NUMÉ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6B16F3-081F-462A-8AC9-8DF8E43196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214" y="1031281"/>
            <a:ext cx="1835244" cy="18669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D9DBDE-A00E-4863-A322-81535831D55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871" r="3587"/>
          <a:stretch/>
        </p:blipFill>
        <p:spPr>
          <a:xfrm>
            <a:off x="2490726" y="982393"/>
            <a:ext cx="2132333" cy="19304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E88AC7-BD6F-4B23-85AD-80E02C3CD93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1926"/>
          <a:stretch/>
        </p:blipFill>
        <p:spPr>
          <a:xfrm>
            <a:off x="4927327" y="995094"/>
            <a:ext cx="1835244" cy="19050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A71A048-95D3-4B44-99E2-AEC26D48D57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9257" r="42669"/>
          <a:stretch/>
        </p:blipFill>
        <p:spPr>
          <a:xfrm>
            <a:off x="9206352" y="982393"/>
            <a:ext cx="1835245" cy="190509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E3B1F4-4AAB-47F8-9AB8-333B93D97E3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7837" r="4089"/>
          <a:stretch/>
        </p:blipFill>
        <p:spPr>
          <a:xfrm>
            <a:off x="7066839" y="995094"/>
            <a:ext cx="1835246" cy="19050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B754C7A-2864-409B-AE52-2E48AF45719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843" r="78992"/>
          <a:stretch/>
        </p:blipFill>
        <p:spPr>
          <a:xfrm>
            <a:off x="389714" y="2941545"/>
            <a:ext cx="1835244" cy="17971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FC8B215-6AE0-4A8F-A624-E3D1F32018C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1734" r="40101"/>
          <a:stretch/>
        </p:blipFill>
        <p:spPr>
          <a:xfrm>
            <a:off x="2639270" y="2968861"/>
            <a:ext cx="1835245" cy="17971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A36F5E2-BF2E-4866-BBFA-5DC05C6749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835"/>
          <a:stretch/>
        </p:blipFill>
        <p:spPr>
          <a:xfrm>
            <a:off x="4985076" y="2981562"/>
            <a:ext cx="1835246" cy="179714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D5B1E76-A91C-4B39-B6CB-2D5E6A553DB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81185"/>
          <a:stretch/>
        </p:blipFill>
        <p:spPr>
          <a:xfrm>
            <a:off x="7251367" y="2992330"/>
            <a:ext cx="1835245" cy="185429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8945E3D-B371-4FD0-B161-F256538AF7A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0351" r="40833"/>
          <a:stretch/>
        </p:blipFill>
        <p:spPr>
          <a:xfrm>
            <a:off x="9320891" y="2966388"/>
            <a:ext cx="1835246" cy="185429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494DB97-F934-489E-AFA0-C37642E2412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1185"/>
          <a:stretch/>
        </p:blipFill>
        <p:spPr>
          <a:xfrm>
            <a:off x="7251366" y="4983115"/>
            <a:ext cx="1835246" cy="185429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53D607A-BB46-47B8-BE0D-3B762F5FD2C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81111"/>
          <a:stretch/>
        </p:blipFill>
        <p:spPr>
          <a:xfrm>
            <a:off x="389714" y="4933250"/>
            <a:ext cx="1835244" cy="185429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5E5A4DB-8985-4FBE-A04D-6A77A56C6DC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0651" r="40564"/>
          <a:stretch/>
        </p:blipFill>
        <p:spPr>
          <a:xfrm>
            <a:off x="2730250" y="4965205"/>
            <a:ext cx="1835247" cy="185429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273892-F4BB-428C-8F64-543956B2A3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1111"/>
          <a:stretch/>
        </p:blipFill>
        <p:spPr>
          <a:xfrm>
            <a:off x="5060080" y="4965205"/>
            <a:ext cx="1835246" cy="185429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ADC3E22-DD35-49CF-904F-043C4D72B8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7D004C-50EC-4913-B7DE-93A84B7AEB5D}"/>
              </a:ext>
            </a:extLst>
          </p:cNvPr>
          <p:cNvSpPr/>
          <p:nvPr/>
        </p:nvSpPr>
        <p:spPr>
          <a:xfrm>
            <a:off x="2482384" y="2890184"/>
            <a:ext cx="2132333" cy="19304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DE4FEBB-0D61-48DF-B94C-496428D75DE8}"/>
              </a:ext>
            </a:extLst>
          </p:cNvPr>
          <p:cNvSpPr/>
          <p:nvPr/>
        </p:nvSpPr>
        <p:spPr>
          <a:xfrm>
            <a:off x="4753907" y="2890184"/>
            <a:ext cx="2132333" cy="19304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08FF70E-74F8-4A81-B424-EB4BFFBD78FD}"/>
              </a:ext>
            </a:extLst>
          </p:cNvPr>
          <p:cNvSpPr/>
          <p:nvPr/>
        </p:nvSpPr>
        <p:spPr>
          <a:xfrm>
            <a:off x="7017088" y="2890184"/>
            <a:ext cx="2132333" cy="19304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AD41970-2A31-4B4E-A1ED-875BCAF9B8F7}"/>
              </a:ext>
            </a:extLst>
          </p:cNvPr>
          <p:cNvSpPr/>
          <p:nvPr/>
        </p:nvSpPr>
        <p:spPr>
          <a:xfrm>
            <a:off x="9221874" y="2898277"/>
            <a:ext cx="2132333" cy="19304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65B4C3B-FA6F-4451-BD95-711F886AAD51}"/>
              </a:ext>
            </a:extLst>
          </p:cNvPr>
          <p:cNvSpPr/>
          <p:nvPr/>
        </p:nvSpPr>
        <p:spPr>
          <a:xfrm>
            <a:off x="7017088" y="4889445"/>
            <a:ext cx="2132333" cy="19304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859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NUMÉ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2ADC3E22-DD35-49CF-904F-043C4D72B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58D66351-A3B2-4BFB-9EC9-C90653894E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59" y="3750313"/>
            <a:ext cx="5224893" cy="29484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CFFA99-E2A5-4D91-A95E-78D9141805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5701" y="1813767"/>
            <a:ext cx="5224893" cy="37380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75D75C-7ECF-45D2-8631-1BE5A94E88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224" y="1135149"/>
            <a:ext cx="5045362" cy="2663289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EBE4B1-4DA3-4829-BCA2-C757BE113FD9}"/>
              </a:ext>
            </a:extLst>
          </p:cNvPr>
          <p:cNvCxnSpPr>
            <a:cxnSpLocks/>
          </p:cNvCxnSpPr>
          <p:nvPr/>
        </p:nvCxnSpPr>
        <p:spPr>
          <a:xfrm flipV="1">
            <a:off x="5836747" y="1688235"/>
            <a:ext cx="0" cy="4220407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5803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NUMÉRICAS Y CATEGÓ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2ADC3E22-DD35-49CF-904F-043C4D72B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EBE4B1-4DA3-4829-BCA2-C757BE113FD9}"/>
              </a:ext>
            </a:extLst>
          </p:cNvPr>
          <p:cNvCxnSpPr>
            <a:cxnSpLocks/>
          </p:cNvCxnSpPr>
          <p:nvPr/>
        </p:nvCxnSpPr>
        <p:spPr>
          <a:xfrm flipV="1">
            <a:off x="1047550" y="3919174"/>
            <a:ext cx="10096901" cy="10828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DEDE7A0-F25C-4FEE-856F-C5C6598F1F36}"/>
              </a:ext>
            </a:extLst>
          </p:cNvPr>
          <p:cNvGrpSpPr/>
          <p:nvPr/>
        </p:nvGrpSpPr>
        <p:grpSpPr>
          <a:xfrm>
            <a:off x="1949311" y="4144977"/>
            <a:ext cx="8293379" cy="2609946"/>
            <a:chOff x="1116433" y="4144977"/>
            <a:chExt cx="8293379" cy="260994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8565C0A-AD73-4337-B3A3-37F6155B31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000"/>
            <a:stretch/>
          </p:blipFill>
          <p:spPr>
            <a:xfrm>
              <a:off x="5672707" y="4144977"/>
              <a:ext cx="3737105" cy="260994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8EFEB29-DA86-47D9-9F89-AFF9434F3F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50806"/>
            <a:stretch/>
          </p:blipFill>
          <p:spPr>
            <a:xfrm>
              <a:off x="1116433" y="4144977"/>
              <a:ext cx="3580336" cy="2541452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7AE09EF-C4CB-4E37-8A94-238529AAD0CD}"/>
              </a:ext>
            </a:extLst>
          </p:cNvPr>
          <p:cNvGrpSpPr/>
          <p:nvPr/>
        </p:nvGrpSpPr>
        <p:grpSpPr>
          <a:xfrm>
            <a:off x="1949311" y="1069761"/>
            <a:ext cx="8293379" cy="2731478"/>
            <a:chOff x="1116433" y="1069761"/>
            <a:chExt cx="8293379" cy="273147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3424883-27E0-4A55-852D-547DFF205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16433" y="1155971"/>
              <a:ext cx="3580336" cy="255905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6DA456C-658A-4CAD-AF19-9F3907CE42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575833" y="1069761"/>
              <a:ext cx="3833979" cy="2731478"/>
            </a:xfrm>
            <a:prstGeom prst="rect">
              <a:avLst/>
            </a:prstGeom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3978892-F1C4-46A3-829D-8E106EFBDAA9}"/>
              </a:ext>
            </a:extLst>
          </p:cNvPr>
          <p:cNvSpPr/>
          <p:nvPr/>
        </p:nvSpPr>
        <p:spPr>
          <a:xfrm>
            <a:off x="457092" y="1635017"/>
            <a:ext cx="1492218" cy="686477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Age vs Customer Typ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43BE8F9-D364-43F5-8F07-0FA22A00B975}"/>
              </a:ext>
            </a:extLst>
          </p:cNvPr>
          <p:cNvSpPr/>
          <p:nvPr/>
        </p:nvSpPr>
        <p:spPr>
          <a:xfrm>
            <a:off x="457092" y="4425842"/>
            <a:ext cx="1492218" cy="78631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Age vs Type of travel</a:t>
            </a:r>
          </a:p>
        </p:txBody>
      </p:sp>
    </p:spTree>
    <p:extLst>
      <p:ext uri="{BB962C8B-B14F-4D97-AF65-F5344CB8AC3E}">
        <p14:creationId xmlns:p14="http://schemas.microsoft.com/office/powerpoint/2010/main" val="1361411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DE CATEGÓRICAS A NUMÉ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2ADC3E22-DD35-49CF-904F-043C4D72B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BA7558E-7A42-4121-A95D-0C532BEE1F58}"/>
              </a:ext>
            </a:extLst>
          </p:cNvPr>
          <p:cNvGrpSpPr/>
          <p:nvPr/>
        </p:nvGrpSpPr>
        <p:grpSpPr>
          <a:xfrm>
            <a:off x="3042151" y="1627135"/>
            <a:ext cx="6107698" cy="4128382"/>
            <a:chOff x="457092" y="1627135"/>
            <a:chExt cx="6107698" cy="412838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0D6C4ED-4987-469D-823D-8493AF974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7092" y="1627135"/>
              <a:ext cx="2708336" cy="4128382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4F8469-DED0-4BAB-89D0-B73ADB19F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47982" y="1746959"/>
              <a:ext cx="3116808" cy="30345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68025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CORRELACIÓ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2ADC3E22-DD35-49CF-904F-043C4D72B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6B665C0-E579-41A4-9790-7CDE5CD0D1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092" y="1404463"/>
            <a:ext cx="6197919" cy="524537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DCFD1B6-021A-45B7-B413-E947420911DE}"/>
              </a:ext>
            </a:extLst>
          </p:cNvPr>
          <p:cNvGrpSpPr/>
          <p:nvPr/>
        </p:nvGrpSpPr>
        <p:grpSpPr>
          <a:xfrm>
            <a:off x="7134711" y="970265"/>
            <a:ext cx="4461306" cy="4917471"/>
            <a:chOff x="7134711" y="845284"/>
            <a:chExt cx="4461306" cy="491747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97861B0-1D09-426A-BECE-B97F8D3E07F0}"/>
                </a:ext>
              </a:extLst>
            </p:cNvPr>
            <p:cNvSpPr txBox="1"/>
            <p:nvPr/>
          </p:nvSpPr>
          <p:spPr>
            <a:xfrm>
              <a:off x="7134711" y="845284"/>
              <a:ext cx="542925" cy="66479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480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297080F-04FD-400F-8FAD-0128A4612A10}"/>
                </a:ext>
              </a:extLst>
            </p:cNvPr>
            <p:cNvSpPr txBox="1"/>
            <p:nvPr/>
          </p:nvSpPr>
          <p:spPr>
            <a:xfrm>
              <a:off x="7586174" y="883565"/>
              <a:ext cx="3905068" cy="4678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1400" u="sng" dirty="0">
                  <a:solidFill>
                    <a:schemeClr val="bg1"/>
                  </a:solidFill>
                </a:rPr>
                <a:t>TOP 3 VARIABLES </a:t>
              </a:r>
              <a:r>
                <a:rPr lang="en-GB" sz="1400" b="1" u="sng" dirty="0">
                  <a:solidFill>
                    <a:schemeClr val="bg1"/>
                  </a:solidFill>
                </a:rPr>
                <a:t>MENOS CORRELADAS CON ‘</a:t>
              </a:r>
              <a:r>
                <a:rPr lang="en-GB" sz="1400" b="1" i="1" u="sng" dirty="0">
                  <a:solidFill>
                    <a:schemeClr val="bg1"/>
                  </a:solidFill>
                </a:rPr>
                <a:t>SATISFACTION</a:t>
              </a:r>
              <a:r>
                <a:rPr lang="en-GB" sz="1200" b="1" u="sng" dirty="0">
                  <a:solidFill>
                    <a:schemeClr val="bg1"/>
                  </a:solidFill>
                </a:rPr>
                <a:t>’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92CFCC1-3939-4A95-B142-F8474E2D4305}"/>
                </a:ext>
              </a:extLst>
            </p:cNvPr>
            <p:cNvSpPr txBox="1"/>
            <p:nvPr/>
          </p:nvSpPr>
          <p:spPr>
            <a:xfrm>
              <a:off x="7148024" y="2799744"/>
              <a:ext cx="542925" cy="66479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4800" dirty="0">
                  <a:solidFill>
                    <a:schemeClr val="bg1"/>
                  </a:solidFill>
                </a:rPr>
                <a:t>2</a:t>
              </a:r>
              <a:endParaRPr lang="en-GB" sz="5400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924FC8-0DB2-446C-8D0C-0B43B3477820}"/>
                </a:ext>
              </a:extLst>
            </p:cNvPr>
            <p:cNvSpPr txBox="1"/>
            <p:nvPr/>
          </p:nvSpPr>
          <p:spPr>
            <a:xfrm>
              <a:off x="7690949" y="2790510"/>
              <a:ext cx="3905068" cy="683264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1400" u="sng" dirty="0">
                  <a:solidFill>
                    <a:schemeClr val="bg1"/>
                  </a:solidFill>
                </a:rPr>
                <a:t>TOP 3 VARIABLES CON </a:t>
              </a:r>
              <a:r>
                <a:rPr lang="en-GB" sz="1400" b="1" u="sng" dirty="0">
                  <a:solidFill>
                    <a:schemeClr val="bg1"/>
                  </a:solidFill>
                </a:rPr>
                <a:t>MENOS PUNTUACIÓN EN </a:t>
              </a:r>
              <a:r>
                <a:rPr lang="en-GB" sz="1400" b="1" i="1" u="sng" dirty="0">
                  <a:solidFill>
                    <a:schemeClr val="bg1"/>
                  </a:solidFill>
                </a:rPr>
                <a:t>FEATURE_IMPORTANCES_ </a:t>
              </a:r>
              <a:r>
                <a:rPr lang="en-GB" sz="1400" i="1" u="sng" dirty="0">
                  <a:solidFill>
                    <a:schemeClr val="bg1"/>
                  </a:solidFill>
                </a:rPr>
                <a:t>(Random Forests)</a:t>
              </a:r>
              <a:endParaRPr lang="en-GB" sz="1400" u="sng" dirty="0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C3ADE35-3CE9-4342-8BF9-6CA3976F6424}"/>
                </a:ext>
              </a:extLst>
            </p:cNvPr>
            <p:cNvSpPr txBox="1"/>
            <p:nvPr/>
          </p:nvSpPr>
          <p:spPr>
            <a:xfrm>
              <a:off x="7586174" y="1463810"/>
              <a:ext cx="3543300" cy="83715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rgbClr val="FF0000"/>
                  </a:solidFill>
                </a:rPr>
                <a:t>Arrival delay in minutes 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chemeClr val="bg1"/>
                  </a:solidFill>
                </a:rPr>
                <a:t>Departure/arrival time convenient 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chemeClr val="bg1"/>
                  </a:solidFill>
                </a:rPr>
                <a:t>Departure delay in minut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A750CE9-1226-414C-A794-78CEAB83DAF6}"/>
                </a:ext>
              </a:extLst>
            </p:cNvPr>
            <p:cNvSpPr txBox="1"/>
            <p:nvPr/>
          </p:nvSpPr>
          <p:spPr>
            <a:xfrm>
              <a:off x="7586174" y="3590625"/>
              <a:ext cx="3543300" cy="83715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chemeClr val="bg1"/>
                  </a:solidFill>
                </a:rPr>
                <a:t>Gender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rgbClr val="FF0000"/>
                  </a:solidFill>
                </a:rPr>
                <a:t>Arrival delay in minutes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chemeClr val="bg1"/>
                  </a:solidFill>
                </a:rPr>
                <a:t>Food and drin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88AB9C0-F527-472C-9D14-38AD8C08134D}"/>
                </a:ext>
              </a:extLst>
            </p:cNvPr>
            <p:cNvSpPr txBox="1"/>
            <p:nvPr/>
          </p:nvSpPr>
          <p:spPr>
            <a:xfrm>
              <a:off x="7148024" y="4772560"/>
              <a:ext cx="542925" cy="66479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4800" dirty="0">
                  <a:solidFill>
                    <a:schemeClr val="bg1"/>
                  </a:solidFill>
                </a:rPr>
                <a:t>3</a:t>
              </a:r>
              <a:endParaRPr lang="en-GB" sz="54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FCA0715-6B8F-41B3-8BE0-DC608F597300}"/>
                </a:ext>
              </a:extLst>
            </p:cNvPr>
            <p:cNvSpPr txBox="1"/>
            <p:nvPr/>
          </p:nvSpPr>
          <p:spPr>
            <a:xfrm>
              <a:off x="7690949" y="4871049"/>
              <a:ext cx="3905068" cy="4678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GB" sz="1400" b="1" u="sng" dirty="0" err="1">
                  <a:solidFill>
                    <a:schemeClr val="bg1"/>
                  </a:solidFill>
                </a:rPr>
                <a:t>Eliminamos</a:t>
              </a:r>
              <a:r>
                <a:rPr lang="en-GB" sz="1400" u="sng" dirty="0">
                  <a:solidFill>
                    <a:schemeClr val="bg1"/>
                  </a:solidFill>
                </a:rPr>
                <a:t> las </a:t>
              </a:r>
              <a:r>
                <a:rPr lang="en-GB" sz="1400" u="sng" dirty="0" err="1">
                  <a:solidFill>
                    <a:schemeClr val="bg1"/>
                  </a:solidFill>
                </a:rPr>
                <a:t>columnas</a:t>
              </a:r>
              <a:r>
                <a:rPr lang="en-GB" sz="1400" u="sng" dirty="0">
                  <a:solidFill>
                    <a:schemeClr val="bg1"/>
                  </a:solidFill>
                </a:rPr>
                <a:t> que </a:t>
              </a:r>
              <a:r>
                <a:rPr lang="en-GB" sz="1400" u="sng" dirty="0" err="1">
                  <a:solidFill>
                    <a:schemeClr val="bg1"/>
                  </a:solidFill>
                </a:rPr>
                <a:t>generan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  <a:r>
                <a:rPr lang="en-GB" sz="1400" u="sng" dirty="0" err="1">
                  <a:solidFill>
                    <a:schemeClr val="bg1"/>
                  </a:solidFill>
                </a:rPr>
                <a:t>más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  <a:r>
                <a:rPr lang="en-GB" sz="1400" u="sng" dirty="0" err="1">
                  <a:solidFill>
                    <a:schemeClr val="bg1"/>
                  </a:solidFill>
                </a:rPr>
                <a:t>ruido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  <a:r>
                <a:rPr lang="en-GB" sz="1400" u="sng" dirty="0" err="1">
                  <a:solidFill>
                    <a:schemeClr val="bg1"/>
                  </a:solidFill>
                </a:rPr>
                <a:t>en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  <a:r>
                <a:rPr lang="en-GB" sz="1400" u="sng" dirty="0" err="1">
                  <a:solidFill>
                    <a:schemeClr val="bg1"/>
                  </a:solidFill>
                </a:rPr>
                <a:t>el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  <a:r>
                <a:rPr lang="en-GB" sz="1400" u="sng" dirty="0" err="1">
                  <a:solidFill>
                    <a:schemeClr val="bg1"/>
                  </a:solidFill>
                </a:rPr>
                <a:t>modelo</a:t>
              </a:r>
              <a:r>
                <a:rPr lang="en-GB" sz="1400" u="sng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8E42AD0-28FC-43DB-A2B2-3F7119A8CE2B}"/>
                </a:ext>
              </a:extLst>
            </p:cNvPr>
            <p:cNvSpPr txBox="1"/>
            <p:nvPr/>
          </p:nvSpPr>
          <p:spPr>
            <a:xfrm>
              <a:off x="7586174" y="5442603"/>
              <a:ext cx="3543300" cy="32015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285750" indent="-285750">
                <a:lnSpc>
                  <a:spcPct val="150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en-GB" sz="1400" b="1" dirty="0">
                  <a:solidFill>
                    <a:srgbClr val="FF0000"/>
                  </a:solidFill>
                </a:rPr>
                <a:t>Arrival delay in minutes</a:t>
              </a: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226CC95-6A15-4DDE-B37A-638AF2A6CFF7}"/>
              </a:ext>
            </a:extLst>
          </p:cNvPr>
          <p:cNvCxnSpPr>
            <a:cxnSpLocks/>
          </p:cNvCxnSpPr>
          <p:nvPr/>
        </p:nvCxnSpPr>
        <p:spPr>
          <a:xfrm flipV="1">
            <a:off x="6855922" y="787733"/>
            <a:ext cx="0" cy="5282535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20482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MODEL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CREACIÓN DE LOS MODELOS</a:t>
            </a:r>
          </a:p>
        </p:txBody>
      </p:sp>
      <p:sp>
        <p:nvSpPr>
          <p:cNvPr id="6" name="Google Shape;316;p29">
            <a:extLst>
              <a:ext uri="{FF2B5EF4-FFF2-40B4-BE49-F238E27FC236}">
                <a16:creationId xmlns:a16="http://schemas.microsoft.com/office/drawing/2014/main" id="{4E3BF441-8C08-4653-B7C4-57E4D38A4A97}"/>
              </a:ext>
            </a:extLst>
          </p:cNvPr>
          <p:cNvSpPr txBox="1"/>
          <p:nvPr/>
        </p:nvSpPr>
        <p:spPr>
          <a:xfrm>
            <a:off x="8200582" y="2232301"/>
            <a:ext cx="3424234" cy="623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133" b="1" dirty="0">
                <a:solidFill>
                  <a:srgbClr val="FFFFFF"/>
                </a:solidFill>
                <a:latin typeface="EYInterstate Bold" panose="02000803030000020004" pitchFamily="2" charset="0"/>
                <a:ea typeface="Archivo"/>
                <a:cs typeface="Archivo"/>
                <a:sym typeface="Archivo"/>
              </a:rPr>
              <a:t>Plan de Comunicación</a:t>
            </a:r>
            <a:endParaRPr sz="933" dirty="0">
              <a:solidFill>
                <a:srgbClr val="FFFFFF"/>
              </a:solidFill>
              <a:latin typeface="EYInterstate Bold" panose="02000803030000020004" pitchFamily="2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F78871-1BFD-4A0B-A2A7-8E36B2B5F6B0}"/>
              </a:ext>
            </a:extLst>
          </p:cNvPr>
          <p:cNvSpPr/>
          <p:nvPr/>
        </p:nvSpPr>
        <p:spPr>
          <a:xfrm>
            <a:off x="1043663" y="1099725"/>
            <a:ext cx="243741" cy="5076062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0D5C058-6BCB-40FD-A443-4363E01F47F2}"/>
              </a:ext>
            </a:extLst>
          </p:cNvPr>
          <p:cNvSpPr/>
          <p:nvPr/>
        </p:nvSpPr>
        <p:spPr>
          <a:xfrm>
            <a:off x="535533" y="2892885"/>
            <a:ext cx="1260000" cy="1260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336699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0" cap="none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0" cap="none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ccuracy</a:t>
            </a:r>
            <a:endParaRPr kumimoji="0" lang="es-ES" sz="1200" b="1" i="0" u="none" strike="noStrike" kern="0" cap="none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57F2264-7F2E-4EBB-A14A-E495A394A2CB}"/>
              </a:ext>
            </a:extLst>
          </p:cNvPr>
          <p:cNvSpPr/>
          <p:nvPr/>
        </p:nvSpPr>
        <p:spPr>
          <a:xfrm>
            <a:off x="2159715" y="1099725"/>
            <a:ext cx="874931" cy="2423160"/>
          </a:xfrm>
          <a:prstGeom prst="rect">
            <a:avLst/>
          </a:prstGeom>
          <a:solidFill>
            <a:srgbClr val="333399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6AF3D63-E985-40D9-BE5F-B9B2EB26D28F}"/>
              </a:ext>
            </a:extLst>
          </p:cNvPr>
          <p:cNvSpPr/>
          <p:nvPr/>
        </p:nvSpPr>
        <p:spPr>
          <a:xfrm>
            <a:off x="3023290" y="1100899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0A9AADA-30C9-488B-9683-90B64D109CDA}"/>
              </a:ext>
            </a:extLst>
          </p:cNvPr>
          <p:cNvSpPr txBox="1"/>
          <p:nvPr/>
        </p:nvSpPr>
        <p:spPr>
          <a:xfrm>
            <a:off x="3292239" y="1317537"/>
            <a:ext cx="2914265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Logistic regressio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EAAFA21-239F-47BC-84D4-421D64DC3A21}"/>
              </a:ext>
            </a:extLst>
          </p:cNvPr>
          <p:cNvSpPr/>
          <p:nvPr/>
        </p:nvSpPr>
        <p:spPr>
          <a:xfrm>
            <a:off x="2192200" y="1047959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1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B04F654-F07C-41DE-839A-41DF14E91CA3}"/>
              </a:ext>
            </a:extLst>
          </p:cNvPr>
          <p:cNvSpPr/>
          <p:nvPr/>
        </p:nvSpPr>
        <p:spPr>
          <a:xfrm>
            <a:off x="2159715" y="3752627"/>
            <a:ext cx="874931" cy="24231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0F2AFF5-E194-4A91-9246-8001E41362D8}"/>
              </a:ext>
            </a:extLst>
          </p:cNvPr>
          <p:cNvSpPr/>
          <p:nvPr/>
        </p:nvSpPr>
        <p:spPr>
          <a:xfrm>
            <a:off x="3023290" y="3753801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95FF06D-701F-4233-B671-E6070EA8A1E9}"/>
              </a:ext>
            </a:extLst>
          </p:cNvPr>
          <p:cNvSpPr txBox="1"/>
          <p:nvPr/>
        </p:nvSpPr>
        <p:spPr>
          <a:xfrm>
            <a:off x="3292239" y="4033916"/>
            <a:ext cx="3474339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K Nearest </a:t>
            </a:r>
            <a:r>
              <a:rPr lang="en-US" sz="16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Neighbours</a:t>
            </a: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  <a:latin typeface="EYInterstate Bold" panose="02000803030000020004" pitchFamily="2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85B302D-C52A-47AC-9147-C2F512ABABFE}"/>
              </a:ext>
            </a:extLst>
          </p:cNvPr>
          <p:cNvSpPr/>
          <p:nvPr/>
        </p:nvSpPr>
        <p:spPr>
          <a:xfrm>
            <a:off x="2192200" y="3700861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3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2336DD1-CB95-414C-8C9B-C811BD55F22B}"/>
              </a:ext>
            </a:extLst>
          </p:cNvPr>
          <p:cNvSpPr/>
          <p:nvPr/>
        </p:nvSpPr>
        <p:spPr>
          <a:xfrm>
            <a:off x="6927142" y="1099725"/>
            <a:ext cx="874931" cy="2423160"/>
          </a:xfrm>
          <a:prstGeom prst="rect">
            <a:avLst/>
          </a:prstGeom>
          <a:solidFill>
            <a:srgbClr val="2A2AA6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375173E-E125-4975-9C8D-27182F49FE3F}"/>
              </a:ext>
            </a:extLst>
          </p:cNvPr>
          <p:cNvSpPr/>
          <p:nvPr/>
        </p:nvSpPr>
        <p:spPr>
          <a:xfrm>
            <a:off x="7790717" y="1100899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8FD5F41-DF03-49B0-8C3E-88C18CB9EACA}"/>
              </a:ext>
            </a:extLst>
          </p:cNvPr>
          <p:cNvSpPr txBox="1"/>
          <p:nvPr/>
        </p:nvSpPr>
        <p:spPr>
          <a:xfrm>
            <a:off x="8059666" y="1317537"/>
            <a:ext cx="2914265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Random Forests Classifie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DA487FD-5F92-482B-96A1-49D5379BD8D8}"/>
              </a:ext>
            </a:extLst>
          </p:cNvPr>
          <p:cNvSpPr/>
          <p:nvPr/>
        </p:nvSpPr>
        <p:spPr>
          <a:xfrm>
            <a:off x="6959627" y="1047959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2.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8F2804C-17DF-4C44-ADD4-1441E3538329}"/>
              </a:ext>
            </a:extLst>
          </p:cNvPr>
          <p:cNvSpPr/>
          <p:nvPr/>
        </p:nvSpPr>
        <p:spPr>
          <a:xfrm>
            <a:off x="6927142" y="3752627"/>
            <a:ext cx="874931" cy="24231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96250B0-004E-463C-A781-D36F4207CAD8}"/>
              </a:ext>
            </a:extLst>
          </p:cNvPr>
          <p:cNvSpPr/>
          <p:nvPr/>
        </p:nvSpPr>
        <p:spPr>
          <a:xfrm>
            <a:off x="7790717" y="3753801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602FD95-9612-4CC0-B4A5-F8B02A771D17}"/>
              </a:ext>
            </a:extLst>
          </p:cNvPr>
          <p:cNvSpPr txBox="1"/>
          <p:nvPr/>
        </p:nvSpPr>
        <p:spPr>
          <a:xfrm>
            <a:off x="8059666" y="4033916"/>
            <a:ext cx="2880000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SVC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EF6BA50-3615-45D5-B340-DB533373D8E2}"/>
              </a:ext>
            </a:extLst>
          </p:cNvPr>
          <p:cNvSpPr/>
          <p:nvPr/>
        </p:nvSpPr>
        <p:spPr>
          <a:xfrm>
            <a:off x="6959627" y="3700861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4.</a:t>
            </a:r>
          </a:p>
        </p:txBody>
      </p:sp>
      <p:pic>
        <p:nvPicPr>
          <p:cNvPr id="85" name="Graphic 84" descr="Target with solid fill">
            <a:extLst>
              <a:ext uri="{FF2B5EF4-FFF2-40B4-BE49-F238E27FC236}">
                <a16:creationId xmlns:a16="http://schemas.microsoft.com/office/drawing/2014/main" id="{DA0DD1B5-8515-4C6A-B71B-2EB652F0E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61428" y="3053445"/>
            <a:ext cx="408210" cy="40821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B101537-1C4D-46FA-8BF6-5645F9A2EC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B0E7C8-9BF0-40C8-9AD0-46503CF0BD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21226" y="1902452"/>
            <a:ext cx="3886400" cy="14923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03E531-FE05-4C41-ABC9-A1694D6E7F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4255" y="4619847"/>
            <a:ext cx="3740342" cy="14288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A6E878-6F82-436F-94BB-1CF810FBAC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73210" y="1959604"/>
            <a:ext cx="3772094" cy="137802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D5E4581-A48A-44F9-83D8-9AC2D9E8F7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4013" y="4619847"/>
            <a:ext cx="3721291" cy="1378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015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72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MODEL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CREACIÓN DE LOS MODELOS</a:t>
            </a:r>
          </a:p>
        </p:txBody>
      </p:sp>
      <p:sp>
        <p:nvSpPr>
          <p:cNvPr id="6" name="Google Shape;316;p29">
            <a:extLst>
              <a:ext uri="{FF2B5EF4-FFF2-40B4-BE49-F238E27FC236}">
                <a16:creationId xmlns:a16="http://schemas.microsoft.com/office/drawing/2014/main" id="{4E3BF441-8C08-4653-B7C4-57E4D38A4A97}"/>
              </a:ext>
            </a:extLst>
          </p:cNvPr>
          <p:cNvSpPr txBox="1"/>
          <p:nvPr/>
        </p:nvSpPr>
        <p:spPr>
          <a:xfrm>
            <a:off x="8200582" y="2232301"/>
            <a:ext cx="3424234" cy="623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133" b="1" dirty="0">
                <a:solidFill>
                  <a:srgbClr val="FFFFFF"/>
                </a:solidFill>
                <a:latin typeface="EYInterstate Bold" panose="02000803030000020004" pitchFamily="2" charset="0"/>
                <a:ea typeface="Archivo"/>
                <a:cs typeface="Archivo"/>
                <a:sym typeface="Archivo"/>
              </a:rPr>
              <a:t>Plan de Comunicación</a:t>
            </a:r>
            <a:endParaRPr sz="933" dirty="0">
              <a:solidFill>
                <a:srgbClr val="FFFFFF"/>
              </a:solidFill>
              <a:latin typeface="EYInterstate Bold" panose="02000803030000020004" pitchFamily="2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8F78871-1BFD-4A0B-A2A7-8E36B2B5F6B0}"/>
              </a:ext>
            </a:extLst>
          </p:cNvPr>
          <p:cNvSpPr/>
          <p:nvPr/>
        </p:nvSpPr>
        <p:spPr>
          <a:xfrm>
            <a:off x="1043663" y="1099725"/>
            <a:ext cx="243741" cy="5076062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0D5C058-6BCB-40FD-A443-4363E01F47F2}"/>
              </a:ext>
            </a:extLst>
          </p:cNvPr>
          <p:cNvSpPr/>
          <p:nvPr/>
        </p:nvSpPr>
        <p:spPr>
          <a:xfrm>
            <a:off x="535533" y="2892885"/>
            <a:ext cx="1260000" cy="1260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336699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none" strike="noStrike" kern="0" cap="none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0" cap="none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ccuracy</a:t>
            </a:r>
            <a:endParaRPr kumimoji="0" lang="es-ES" sz="1200" b="1" i="0" u="none" strike="noStrike" kern="0" cap="none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57F2264-7F2E-4EBB-A14A-E495A394A2CB}"/>
              </a:ext>
            </a:extLst>
          </p:cNvPr>
          <p:cNvSpPr/>
          <p:nvPr/>
        </p:nvSpPr>
        <p:spPr>
          <a:xfrm>
            <a:off x="2159715" y="1099725"/>
            <a:ext cx="874931" cy="2423160"/>
          </a:xfrm>
          <a:prstGeom prst="rect">
            <a:avLst/>
          </a:prstGeom>
          <a:solidFill>
            <a:srgbClr val="333399">
              <a:lumMod val="7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6AF3D63-E985-40D9-BE5F-B9B2EB26D28F}"/>
              </a:ext>
            </a:extLst>
          </p:cNvPr>
          <p:cNvSpPr/>
          <p:nvPr/>
        </p:nvSpPr>
        <p:spPr>
          <a:xfrm>
            <a:off x="3023290" y="1100899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0A9AADA-30C9-488B-9683-90B64D109CDA}"/>
              </a:ext>
            </a:extLst>
          </p:cNvPr>
          <p:cNvSpPr txBox="1"/>
          <p:nvPr/>
        </p:nvSpPr>
        <p:spPr>
          <a:xfrm>
            <a:off x="3292239" y="1317537"/>
            <a:ext cx="2914265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Logistic regressio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EAAFA21-239F-47BC-84D4-421D64DC3A21}"/>
              </a:ext>
            </a:extLst>
          </p:cNvPr>
          <p:cNvSpPr/>
          <p:nvPr/>
        </p:nvSpPr>
        <p:spPr>
          <a:xfrm>
            <a:off x="2192200" y="1047959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1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B04F654-F07C-41DE-839A-41DF14E91CA3}"/>
              </a:ext>
            </a:extLst>
          </p:cNvPr>
          <p:cNvSpPr/>
          <p:nvPr/>
        </p:nvSpPr>
        <p:spPr>
          <a:xfrm>
            <a:off x="2159715" y="3752627"/>
            <a:ext cx="874931" cy="24231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0F2AFF5-E194-4A91-9246-8001E41362D8}"/>
              </a:ext>
            </a:extLst>
          </p:cNvPr>
          <p:cNvSpPr/>
          <p:nvPr/>
        </p:nvSpPr>
        <p:spPr>
          <a:xfrm>
            <a:off x="3023290" y="3753801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95FF06D-701F-4233-B671-E6070EA8A1E9}"/>
              </a:ext>
            </a:extLst>
          </p:cNvPr>
          <p:cNvSpPr txBox="1"/>
          <p:nvPr/>
        </p:nvSpPr>
        <p:spPr>
          <a:xfrm>
            <a:off x="3292239" y="4033916"/>
            <a:ext cx="3474339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K Nearest </a:t>
            </a:r>
            <a:r>
              <a:rPr lang="en-US" sz="16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Neighbours</a:t>
            </a: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  <a:latin typeface="EYInterstate Bold" panose="02000803030000020004" pitchFamily="2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04011F-E679-4100-A027-67B6B0CC164A}"/>
              </a:ext>
            </a:extLst>
          </p:cNvPr>
          <p:cNvGrpSpPr/>
          <p:nvPr/>
        </p:nvGrpSpPr>
        <p:grpSpPr>
          <a:xfrm>
            <a:off x="6927142" y="1099725"/>
            <a:ext cx="4480443" cy="2424334"/>
            <a:chOff x="6927142" y="1099725"/>
            <a:chExt cx="4480443" cy="24243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2336DD1-CB95-414C-8C9B-C811BD55F22B}"/>
                </a:ext>
              </a:extLst>
            </p:cNvPr>
            <p:cNvSpPr/>
            <p:nvPr/>
          </p:nvSpPr>
          <p:spPr>
            <a:xfrm>
              <a:off x="6927142" y="1099725"/>
              <a:ext cx="874931" cy="2423160"/>
            </a:xfrm>
            <a:prstGeom prst="rect">
              <a:avLst/>
            </a:prstGeom>
            <a:solidFill>
              <a:srgbClr val="2A2AA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375173E-E125-4975-9C8D-27182F49FE3F}"/>
                </a:ext>
              </a:extLst>
            </p:cNvPr>
            <p:cNvSpPr/>
            <p:nvPr/>
          </p:nvSpPr>
          <p:spPr>
            <a:xfrm>
              <a:off x="7790717" y="1100899"/>
              <a:ext cx="3616868" cy="242316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8FD5F41-DF03-49B0-8C3E-88C18CB9EACA}"/>
                </a:ext>
              </a:extLst>
            </p:cNvPr>
            <p:cNvSpPr txBox="1"/>
            <p:nvPr/>
          </p:nvSpPr>
          <p:spPr>
            <a:xfrm>
              <a:off x="8059666" y="1317537"/>
              <a:ext cx="2914265" cy="326231"/>
            </a:xfrm>
            <a:prstGeom prst="rect">
              <a:avLst/>
            </a:prstGeom>
          </p:spPr>
          <p:txBody>
            <a:bodyPr vert="horz" wrap="square" lIns="45696" tIns="0" rIns="0" bIns="0" rtlCol="0" anchor="t" anchorCtr="0">
              <a:noAutofit/>
            </a:bodyPr>
            <a:lstStyle/>
            <a:p>
              <a:pPr defTabSz="913943">
                <a:buClr>
                  <a:srgbClr val="646464"/>
                </a:buClr>
                <a:buSzPct val="70000"/>
                <a:defRPr/>
              </a:pPr>
              <a:r>
                <a:rPr lang="en-US" sz="16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YInterstate Bold" panose="02000803030000020004" pitchFamily="2" charset="0"/>
                </a:rPr>
                <a:t>Random Forests Classifier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EA6E878-6F82-436F-94BB-1CF810FBA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473210" y="1959604"/>
              <a:ext cx="3772094" cy="137802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85B302D-C52A-47AC-9147-C2F512ABABFE}"/>
              </a:ext>
            </a:extLst>
          </p:cNvPr>
          <p:cNvSpPr/>
          <p:nvPr/>
        </p:nvSpPr>
        <p:spPr>
          <a:xfrm>
            <a:off x="2192200" y="3700861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3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DA487FD-5F92-482B-96A1-49D5379BD8D8}"/>
              </a:ext>
            </a:extLst>
          </p:cNvPr>
          <p:cNvSpPr/>
          <p:nvPr/>
        </p:nvSpPr>
        <p:spPr>
          <a:xfrm>
            <a:off x="6959627" y="1047959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2.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8F2804C-17DF-4C44-ADD4-1441E3538329}"/>
              </a:ext>
            </a:extLst>
          </p:cNvPr>
          <p:cNvSpPr/>
          <p:nvPr/>
        </p:nvSpPr>
        <p:spPr>
          <a:xfrm>
            <a:off x="6927142" y="3752627"/>
            <a:ext cx="874931" cy="24231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96250B0-004E-463C-A781-D36F4207CAD8}"/>
              </a:ext>
            </a:extLst>
          </p:cNvPr>
          <p:cNvSpPr/>
          <p:nvPr/>
        </p:nvSpPr>
        <p:spPr>
          <a:xfrm>
            <a:off x="7790717" y="3753801"/>
            <a:ext cx="3616868" cy="242316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602FD95-9612-4CC0-B4A5-F8B02A771D17}"/>
              </a:ext>
            </a:extLst>
          </p:cNvPr>
          <p:cNvSpPr txBox="1"/>
          <p:nvPr/>
        </p:nvSpPr>
        <p:spPr>
          <a:xfrm>
            <a:off x="8059666" y="4033916"/>
            <a:ext cx="2880000" cy="326231"/>
          </a:xfrm>
          <a:prstGeom prst="rect">
            <a:avLst/>
          </a:prstGeom>
        </p:spPr>
        <p:txBody>
          <a:bodyPr vert="horz" wrap="square" lIns="45696" tIns="0" rIns="0" bIns="0" rtlCol="0" anchor="t" anchorCtr="0">
            <a:noAutofit/>
          </a:bodyPr>
          <a:lstStyle/>
          <a:p>
            <a:pPr defTabSz="913943">
              <a:buClr>
                <a:srgbClr val="646464"/>
              </a:buClr>
              <a:buSzPct val="70000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EYInterstate Bold" panose="02000803030000020004" pitchFamily="2" charset="0"/>
              </a:rPr>
              <a:t>SVC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EF6BA50-3615-45D5-B340-DB533373D8E2}"/>
              </a:ext>
            </a:extLst>
          </p:cNvPr>
          <p:cNvSpPr/>
          <p:nvPr/>
        </p:nvSpPr>
        <p:spPr>
          <a:xfrm>
            <a:off x="6959627" y="3700861"/>
            <a:ext cx="800673" cy="10908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3114" tIns="73114" rIns="73114" bIns="731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Arial" pitchFamily="34" charset="0"/>
              </a:rPr>
              <a:t>4.</a:t>
            </a:r>
          </a:p>
        </p:txBody>
      </p:sp>
      <p:pic>
        <p:nvPicPr>
          <p:cNvPr id="85" name="Graphic 84" descr="Target with solid fill">
            <a:extLst>
              <a:ext uri="{FF2B5EF4-FFF2-40B4-BE49-F238E27FC236}">
                <a16:creationId xmlns:a16="http://schemas.microsoft.com/office/drawing/2014/main" id="{DA0DD1B5-8515-4C6A-B71B-2EB652F0E3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61428" y="3053445"/>
            <a:ext cx="408210" cy="40821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B101537-1C4D-46FA-8BF6-5645F9A2EC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B0E7C8-9BF0-40C8-9AD0-46503CF0BD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21226" y="1902452"/>
            <a:ext cx="3886400" cy="14923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03E531-FE05-4C41-ABC9-A1694D6E7F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94255" y="4619847"/>
            <a:ext cx="3740342" cy="14288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D5E4581-A48A-44F9-83D8-9AC2D9E8F7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4013" y="4619847"/>
            <a:ext cx="3721291" cy="137802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816C53B-18D0-4FE1-9F32-BCF304A82E5B}"/>
              </a:ext>
            </a:extLst>
          </p:cNvPr>
          <p:cNvSpPr/>
          <p:nvPr/>
        </p:nvSpPr>
        <p:spPr>
          <a:xfrm>
            <a:off x="1943100" y="1047959"/>
            <a:ext cx="4953625" cy="5305216"/>
          </a:xfrm>
          <a:prstGeom prst="rect">
            <a:avLst/>
          </a:prstGeom>
          <a:solidFill>
            <a:srgbClr val="FFFFFF">
              <a:alpha val="74902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984A52C-3D45-4EFB-BA27-99611E27BBFF}"/>
              </a:ext>
            </a:extLst>
          </p:cNvPr>
          <p:cNvSpPr/>
          <p:nvPr/>
        </p:nvSpPr>
        <p:spPr>
          <a:xfrm>
            <a:off x="6763632" y="3590116"/>
            <a:ext cx="4953625" cy="2970685"/>
          </a:xfrm>
          <a:prstGeom prst="rect">
            <a:avLst/>
          </a:prstGeom>
          <a:solidFill>
            <a:srgbClr val="FFFFFF">
              <a:alpha val="74902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BB39BA-697C-4F53-92C6-128FC129B9F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18667" y="3588942"/>
            <a:ext cx="6488918" cy="406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77114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DB0E21-7AFA-4F7A-B15A-2BD860BAB7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665" y="2894630"/>
            <a:ext cx="4333135" cy="1068740"/>
          </a:xfrm>
        </p:spPr>
        <p:txBody>
          <a:bodyPr/>
          <a:lstStyle/>
          <a:p>
            <a:r>
              <a:rPr lang="en-US" sz="3600" b="1" dirty="0" err="1">
                <a:solidFill>
                  <a:schemeClr val="bg1">
                    <a:lumMod val="40000"/>
                    <a:lumOff val="60000"/>
                  </a:schemeClr>
                </a:solidFill>
              </a:rPr>
              <a:t>Muchas</a:t>
            </a:r>
            <a:r>
              <a:rPr lang="en-US" sz="36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 gracias por </a:t>
            </a:r>
            <a:r>
              <a:rPr lang="en-US" sz="3600" b="1" dirty="0" err="1">
                <a:solidFill>
                  <a:schemeClr val="bg1">
                    <a:lumMod val="40000"/>
                    <a:lumOff val="60000"/>
                  </a:schemeClr>
                </a:solidFill>
              </a:rPr>
              <a:t>vuestra</a:t>
            </a:r>
            <a:r>
              <a:rPr lang="en-US" sz="36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bg1">
                    <a:lumMod val="40000"/>
                    <a:lumOff val="60000"/>
                  </a:schemeClr>
                </a:solidFill>
              </a:rPr>
              <a:t>atención</a:t>
            </a:r>
            <a:endParaRPr lang="en-US" sz="3600" b="1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94A17A47-8410-4FD1-8DA6-8BE988EC2115}"/>
              </a:ext>
            </a:extLst>
          </p:cNvPr>
          <p:cNvSpPr txBox="1">
            <a:spLocks/>
          </p:cNvSpPr>
          <p:nvPr/>
        </p:nvSpPr>
        <p:spPr>
          <a:xfrm>
            <a:off x="7430240" y="5951185"/>
            <a:ext cx="4333135" cy="1068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94368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en-US" sz="1198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3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37" indent="-176037" algn="l" defTabSz="9943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3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25" indent="-188725" algn="l" defTabSz="9943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500"/>
              </a:spcBef>
            </a:pPr>
            <a:r>
              <a:rPr lang="es-ES" sz="16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22/12/2022</a:t>
            </a:r>
          </a:p>
          <a:p>
            <a:pPr algn="r">
              <a:spcBef>
                <a:spcPts val="500"/>
              </a:spcBef>
            </a:pPr>
            <a:r>
              <a:rPr lang="es-ES" sz="16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Proyecto final </a:t>
            </a:r>
            <a:r>
              <a:rPr lang="es-ES" sz="1600" b="1" dirty="0" err="1">
                <a:solidFill>
                  <a:schemeClr val="bg1">
                    <a:lumMod val="40000"/>
                    <a:lumOff val="60000"/>
                  </a:schemeClr>
                </a:solidFill>
              </a:rPr>
              <a:t>Ironhack</a:t>
            </a:r>
            <a:endParaRPr lang="es-ES" sz="1600" b="1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045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E2393AE9-370E-48D6-83C2-D4BCA2E6BE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E2393AE9-370E-48D6-83C2-D4BCA2E6B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OBJETIV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METODOLOGÍ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ECAFA4D-2F3B-4C0C-9351-99B115A40CBE}"/>
              </a:ext>
            </a:extLst>
          </p:cNvPr>
          <p:cNvGrpSpPr/>
          <p:nvPr/>
        </p:nvGrpSpPr>
        <p:grpSpPr>
          <a:xfrm>
            <a:off x="962236" y="1426743"/>
            <a:ext cx="10267528" cy="4458403"/>
            <a:chOff x="437684" y="1714415"/>
            <a:chExt cx="10267528" cy="4458403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CDE8190-8B2B-4A7B-882A-D0EC40497494}"/>
                </a:ext>
              </a:extLst>
            </p:cNvPr>
            <p:cNvGrpSpPr/>
            <p:nvPr/>
          </p:nvGrpSpPr>
          <p:grpSpPr>
            <a:xfrm>
              <a:off x="437684" y="1714415"/>
              <a:ext cx="2330948" cy="4458403"/>
              <a:chOff x="437268" y="2127263"/>
              <a:chExt cx="2335638" cy="3902080"/>
            </a:xfrm>
          </p:grpSpPr>
          <p:sp>
            <p:nvSpPr>
              <p:cNvPr id="10" name="Rechteck 65">
                <a:extLst>
                  <a:ext uri="{FF2B5EF4-FFF2-40B4-BE49-F238E27FC236}">
                    <a16:creationId xmlns:a16="http://schemas.microsoft.com/office/drawing/2014/main" id="{6A9A65BF-3279-4C34-B53D-94741E3FC7F6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1284083" y="2127263"/>
                <a:ext cx="1488823" cy="3902080"/>
              </a:xfrm>
              <a:custGeom>
                <a:avLst/>
                <a:gdLst>
                  <a:gd name="connsiteX0" fmla="*/ 0 w 254000"/>
                  <a:gd name="connsiteY0" fmla="*/ 0 h 254000"/>
                  <a:gd name="connsiteX1" fmla="*/ 254000 w 254000"/>
                  <a:gd name="connsiteY1" fmla="*/ 0 h 254000"/>
                  <a:gd name="connsiteX2" fmla="*/ 254000 w 254000"/>
                  <a:gd name="connsiteY2" fmla="*/ 254000 h 254000"/>
                  <a:gd name="connsiteX3" fmla="*/ 0 w 254000"/>
                  <a:gd name="connsiteY3" fmla="*/ 254000 h 254000"/>
                  <a:gd name="connsiteX4" fmla="*/ 0 w 254000"/>
                  <a:gd name="connsiteY4" fmla="*/ 0 h 254000"/>
                  <a:gd name="connsiteX0" fmla="*/ 0 w 1474085"/>
                  <a:gd name="connsiteY0" fmla="*/ 0 h 2933207"/>
                  <a:gd name="connsiteX1" fmla="*/ 1474085 w 1474085"/>
                  <a:gd name="connsiteY1" fmla="*/ 2933207 h 2933207"/>
                  <a:gd name="connsiteX2" fmla="*/ 254000 w 1474085"/>
                  <a:gd name="connsiteY2" fmla="*/ 254000 h 2933207"/>
                  <a:gd name="connsiteX3" fmla="*/ 0 w 1474085"/>
                  <a:gd name="connsiteY3" fmla="*/ 254000 h 2933207"/>
                  <a:gd name="connsiteX4" fmla="*/ 0 w 1474085"/>
                  <a:gd name="connsiteY4" fmla="*/ 0 h 2933207"/>
                  <a:gd name="connsiteX0" fmla="*/ 1474085 w 1474085"/>
                  <a:gd name="connsiteY0" fmla="*/ 4496292 h 4496292"/>
                  <a:gd name="connsiteX1" fmla="*/ 1474085 w 1474085"/>
                  <a:gd name="connsiteY1" fmla="*/ 2933207 h 4496292"/>
                  <a:gd name="connsiteX2" fmla="*/ 254000 w 1474085"/>
                  <a:gd name="connsiteY2" fmla="*/ 254000 h 4496292"/>
                  <a:gd name="connsiteX3" fmla="*/ 0 w 1474085"/>
                  <a:gd name="connsiteY3" fmla="*/ 254000 h 4496292"/>
                  <a:gd name="connsiteX4" fmla="*/ 0 w 1474085"/>
                  <a:gd name="connsiteY4" fmla="*/ 0 h 4496292"/>
                  <a:gd name="connsiteX0" fmla="*/ 1474085 w 2086993"/>
                  <a:gd name="connsiteY0" fmla="*/ 4496292 h 4496292"/>
                  <a:gd name="connsiteX1" fmla="*/ 1474085 w 2086993"/>
                  <a:gd name="connsiteY1" fmla="*/ 2933207 h 4496292"/>
                  <a:gd name="connsiteX2" fmla="*/ 2086993 w 2086993"/>
                  <a:gd name="connsiteY2" fmla="*/ 1307657 h 4496292"/>
                  <a:gd name="connsiteX3" fmla="*/ 0 w 2086993"/>
                  <a:gd name="connsiteY3" fmla="*/ 254000 h 4496292"/>
                  <a:gd name="connsiteX4" fmla="*/ 0 w 2086993"/>
                  <a:gd name="connsiteY4" fmla="*/ 0 h 4496292"/>
                  <a:gd name="connsiteX0" fmla="*/ 1474085 w 2086993"/>
                  <a:gd name="connsiteY0" fmla="*/ 4496292 h 5982142"/>
                  <a:gd name="connsiteX1" fmla="*/ 1474085 w 2086993"/>
                  <a:gd name="connsiteY1" fmla="*/ 2933207 h 5982142"/>
                  <a:gd name="connsiteX2" fmla="*/ 2086993 w 2086993"/>
                  <a:gd name="connsiteY2" fmla="*/ 1307657 h 5982142"/>
                  <a:gd name="connsiteX3" fmla="*/ 2086993 w 2086993"/>
                  <a:gd name="connsiteY3" fmla="*/ 5982142 h 5982142"/>
                  <a:gd name="connsiteX4" fmla="*/ 0 w 2086993"/>
                  <a:gd name="connsiteY4" fmla="*/ 0 h 5982142"/>
                  <a:gd name="connsiteX0" fmla="*/ 0 w 612908"/>
                  <a:gd name="connsiteY0" fmla="*/ 3188635 h 4674485"/>
                  <a:gd name="connsiteX1" fmla="*/ 0 w 612908"/>
                  <a:gd name="connsiteY1" fmla="*/ 1625550 h 4674485"/>
                  <a:gd name="connsiteX2" fmla="*/ 612908 w 612908"/>
                  <a:gd name="connsiteY2" fmla="*/ 0 h 4674485"/>
                  <a:gd name="connsiteX3" fmla="*/ 612908 w 612908"/>
                  <a:gd name="connsiteY3" fmla="*/ 4674485 h 4674485"/>
                  <a:gd name="connsiteX0" fmla="*/ 0 w 612908"/>
                  <a:gd name="connsiteY0" fmla="*/ 3188635 h 4674485"/>
                  <a:gd name="connsiteX1" fmla="*/ 50359 w 612908"/>
                  <a:gd name="connsiteY1" fmla="*/ 1435393 h 4674485"/>
                  <a:gd name="connsiteX2" fmla="*/ 612908 w 612908"/>
                  <a:gd name="connsiteY2" fmla="*/ 0 h 4674485"/>
                  <a:gd name="connsiteX3" fmla="*/ 612908 w 612908"/>
                  <a:gd name="connsiteY3" fmla="*/ 4674485 h 4674485"/>
                  <a:gd name="connsiteX4" fmla="*/ 0 w 612908"/>
                  <a:gd name="connsiteY4" fmla="*/ 3188635 h 4674485"/>
                  <a:gd name="connsiteX0" fmla="*/ 4578 w 562549"/>
                  <a:gd name="connsiteY0" fmla="*/ 3274206 h 4674485"/>
                  <a:gd name="connsiteX1" fmla="*/ 0 w 562549"/>
                  <a:gd name="connsiteY1" fmla="*/ 1435393 h 4674485"/>
                  <a:gd name="connsiteX2" fmla="*/ 562549 w 562549"/>
                  <a:gd name="connsiteY2" fmla="*/ 0 h 4674485"/>
                  <a:gd name="connsiteX3" fmla="*/ 562549 w 562549"/>
                  <a:gd name="connsiteY3" fmla="*/ 4674485 h 4674485"/>
                  <a:gd name="connsiteX4" fmla="*/ 4578 w 562549"/>
                  <a:gd name="connsiteY4" fmla="*/ 3274206 h 467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549" h="4674485">
                    <a:moveTo>
                      <a:pt x="4578" y="3274206"/>
                    </a:moveTo>
                    <a:lnTo>
                      <a:pt x="0" y="1435393"/>
                    </a:lnTo>
                    <a:lnTo>
                      <a:pt x="562549" y="0"/>
                    </a:lnTo>
                    <a:lnTo>
                      <a:pt x="562549" y="4674485"/>
                    </a:lnTo>
                    <a:lnTo>
                      <a:pt x="4578" y="327420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29BC4"/>
                  </a:gs>
                  <a:gs pos="50000">
                    <a:srgbClr val="336699">
                      <a:tint val="44500"/>
                      <a:satMod val="160000"/>
                    </a:srgbClr>
                  </a:gs>
                  <a:gs pos="100000">
                    <a:schemeClr val="tx2"/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99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4">
                <a:extLst>
                  <a:ext uri="{FF2B5EF4-FFF2-40B4-BE49-F238E27FC236}">
                    <a16:creationId xmlns:a16="http://schemas.microsoft.com/office/drawing/2014/main" id="{58B31543-75C4-4EF4-B97A-376F41BC8E1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437268" y="3289576"/>
                <a:ext cx="1803620" cy="1575395"/>
              </a:xfrm>
              <a:prstGeom prst="ellipse">
                <a:avLst/>
              </a:prstGeom>
              <a:solidFill>
                <a:srgbClr val="797991"/>
              </a:solidFill>
              <a:ln w="19050" cap="flat" cmpd="sng" algn="ctr">
                <a:solidFill>
                  <a:srgbClr val="336699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72000" rIns="72000" bIns="72000" anchor="ctr"/>
              <a:lstStyle/>
              <a:p>
                <a:pPr algn="ctr" defTabSz="913486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defRPr/>
                </a:pPr>
                <a:r>
                  <a:rPr lang="en-US" sz="1800" b="1" dirty="0" err="1">
                    <a:solidFill>
                      <a:schemeClr val="tx2"/>
                    </a:solidFill>
                    <a:latin typeface="EYInterstate Light"/>
                    <a:cs typeface="Arial" panose="020B0604020202020204" pitchFamily="34" charset="0"/>
                  </a:rPr>
                  <a:t>Objetivos</a:t>
                </a:r>
                <a:endParaRPr lang="en-US" sz="1800" b="1" dirty="0">
                  <a:solidFill>
                    <a:schemeClr val="tx2"/>
                  </a:solidFill>
                  <a:latin typeface="EYInterstate Ligh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" name="Row header_637358515679722213">
              <a:extLst>
                <a:ext uri="{FF2B5EF4-FFF2-40B4-BE49-F238E27FC236}">
                  <a16:creationId xmlns:a16="http://schemas.microsoft.com/office/drawing/2014/main" id="{960B34ED-C530-4AB6-95C4-936DDBC2AF0E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944832" y="1757458"/>
              <a:ext cx="7637550" cy="210227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0002" h="1151232">
                  <a:moveTo>
                    <a:pt x="0" y="0"/>
                  </a:moveTo>
                  <a:lnTo>
                    <a:pt x="2411102" y="0"/>
                  </a:lnTo>
                  <a:lnTo>
                    <a:pt x="2560002" y="575616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rgbClr val="336699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180000" bIns="0" anchor="ctr" anchorCtr="0">
              <a:noAutofit/>
            </a:bodyPr>
            <a:lstStyle/>
            <a:p>
              <a:pPr eaLnBrk="0" hangingPunct="0"/>
              <a:endParaRPr lang="en-US" sz="1600" dirty="0">
                <a:solidFill>
                  <a:schemeClr val="bg1"/>
                </a:solidFill>
                <a:latin typeface="+mj-lt"/>
              </a:endParaRPr>
            </a:p>
            <a:p>
              <a:pPr eaLnBrk="0" hangingPunct="0"/>
              <a:endParaRPr lang="en-US" sz="1600" dirty="0">
                <a:solidFill>
                  <a:schemeClr val="bg1"/>
                </a:solidFill>
                <a:latin typeface="+mj-l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RENSIÓN Y ANÁLISIS DE LAS VARIABLES DEL DATA SET Y LA RELACIÓN ENTRE ELLA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5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LLAS</a:t>
              </a:r>
            </a:p>
          </p:txBody>
        </p:sp>
        <p:sp>
          <p:nvSpPr>
            <p:cNvPr id="16" name="Row header_637358515679722213">
              <a:extLst>
                <a:ext uri="{FF2B5EF4-FFF2-40B4-BE49-F238E27FC236}">
                  <a16:creationId xmlns:a16="http://schemas.microsoft.com/office/drawing/2014/main" id="{46A97DEA-DA01-4447-A1B7-4D23CF23EC2D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44832" y="4022301"/>
              <a:ext cx="7760380" cy="2102274"/>
            </a:xfrm>
            <a:custGeom>
              <a:avLst/>
              <a:gdLst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0 w 2560002"/>
                <a:gd name="connsiteY5" fmla="*/ 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  <a:gd name="connsiteX5" fmla="*/ 91440 w 2560002"/>
                <a:gd name="connsiteY5" fmla="*/ 91440 h 1151232"/>
                <a:gd name="connsiteX0" fmla="*/ 0 w 2560002"/>
                <a:gd name="connsiteY0" fmla="*/ 0 h 1151232"/>
                <a:gd name="connsiteX1" fmla="*/ 2411102 w 2560002"/>
                <a:gd name="connsiteY1" fmla="*/ 0 h 1151232"/>
                <a:gd name="connsiteX2" fmla="*/ 2560002 w 2560002"/>
                <a:gd name="connsiteY2" fmla="*/ 575616 h 1151232"/>
                <a:gd name="connsiteX3" fmla="*/ 2411102 w 2560002"/>
                <a:gd name="connsiteY3" fmla="*/ 1151232 h 1151232"/>
                <a:gd name="connsiteX4" fmla="*/ 0 w 2560002"/>
                <a:gd name="connsiteY4" fmla="*/ 1151232 h 115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0002" h="1151232">
                  <a:moveTo>
                    <a:pt x="0" y="0"/>
                  </a:moveTo>
                  <a:lnTo>
                    <a:pt x="2411102" y="0"/>
                  </a:lnTo>
                  <a:lnTo>
                    <a:pt x="2560002" y="575616"/>
                  </a:lnTo>
                  <a:lnTo>
                    <a:pt x="2411102" y="1151232"/>
                  </a:lnTo>
                  <a:lnTo>
                    <a:pt x="0" y="1151232"/>
                  </a:lnTo>
                </a:path>
              </a:pathLst>
            </a:custGeom>
            <a:noFill/>
            <a:ln w="9525" cap="flat" cmpd="sng" algn="ctr">
              <a:solidFill>
                <a:srgbClr val="336699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wrap="square" lIns="0" tIns="0" rIns="180000" bIns="0" anchor="ctr" anchorCtr="0">
              <a:noAutofit/>
            </a:bodyPr>
            <a:lstStyle/>
            <a:p>
              <a:pPr eaLnBrk="0" hangingPunct="0"/>
              <a:endParaRPr lang="en-US" sz="1600" dirty="0">
                <a:solidFill>
                  <a:schemeClr val="bg1"/>
                </a:solidFill>
                <a:latin typeface="+mj-lt"/>
              </a:endParaRPr>
            </a:p>
            <a:p>
              <a:pPr eaLnBrk="0" hangingPunct="0"/>
              <a:endParaRPr lang="en-US" sz="1600" dirty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GB" sz="2000" dirty="0">
                  <a:solidFill>
                    <a:schemeClr val="bg1">
                      <a:lumMod val="75000"/>
                    </a:schemeClr>
                  </a:solidFill>
                </a:rPr>
                <a:t>PREDICCIÓN DE LA VARIABLE ‘</a:t>
              </a:r>
              <a:r>
                <a:rPr lang="en-GB" sz="2000" b="1" i="1" dirty="0">
                  <a:solidFill>
                    <a:schemeClr val="bg1">
                      <a:lumMod val="75000"/>
                    </a:schemeClr>
                  </a:solidFill>
                </a:rPr>
                <a:t>SATISFACTION</a:t>
              </a:r>
              <a:r>
                <a:rPr lang="en-GB" sz="2000" dirty="0">
                  <a:solidFill>
                    <a:schemeClr val="bg1">
                      <a:lumMod val="75000"/>
                    </a:schemeClr>
                  </a:solidFill>
                </a:rPr>
                <a:t>’ PARA PREDECIR LA SATISFACCIÓN DE LOS USUARIOS EN UN VUELO DE AVIÓN </a:t>
              </a:r>
            </a:p>
            <a:p>
              <a:pPr algn="ctr"/>
              <a:r>
                <a:rPr lang="en-GB" sz="1600" i="1" dirty="0">
                  <a:solidFill>
                    <a:schemeClr val="tx2"/>
                  </a:solidFill>
                </a:rPr>
                <a:t>VUELO DE AVIÓN</a:t>
              </a:r>
            </a:p>
          </p:txBody>
        </p:sp>
        <p:pic>
          <p:nvPicPr>
            <p:cNvPr id="27" name="Graphic 26" descr="Contract with solid fill">
              <a:extLst>
                <a:ext uri="{FF2B5EF4-FFF2-40B4-BE49-F238E27FC236}">
                  <a16:creationId xmlns:a16="http://schemas.microsoft.com/office/drawing/2014/main" id="{8BF18D09-3840-4290-8230-985B35513F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591022" y="4184508"/>
              <a:ext cx="468000" cy="468000"/>
            </a:xfrm>
            <a:prstGeom prst="rect">
              <a:avLst/>
            </a:prstGeom>
          </p:spPr>
        </p:pic>
        <p:pic>
          <p:nvPicPr>
            <p:cNvPr id="25" name="Graphic 24" descr="Transfer with solid fill">
              <a:extLst>
                <a:ext uri="{FF2B5EF4-FFF2-40B4-BE49-F238E27FC236}">
                  <a16:creationId xmlns:a16="http://schemas.microsoft.com/office/drawing/2014/main" id="{153AD9A6-AE1A-4268-B135-D8AF6ED42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528991" y="1949362"/>
              <a:ext cx="469232" cy="4692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6684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83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0DCA3B9-2F23-4F77-9F15-E1121D56B0F6}"/>
              </a:ext>
            </a:extLst>
          </p:cNvPr>
          <p:cNvSpPr/>
          <p:nvPr/>
        </p:nvSpPr>
        <p:spPr>
          <a:xfrm>
            <a:off x="4465443" y="1699168"/>
            <a:ext cx="3261600" cy="4566797"/>
          </a:xfrm>
          <a:prstGeom prst="roundRect">
            <a:avLst>
              <a:gd name="adj" fmla="val 4670"/>
            </a:avLst>
          </a:prstGeom>
          <a:gradFill flip="none" rotWithShape="1">
            <a:gsLst>
              <a:gs pos="16000">
                <a:srgbClr val="FFFFFF"/>
              </a:gs>
              <a:gs pos="100000">
                <a:srgbClr val="E6E6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08000" rIns="72000" bIns="72000" rtlCol="0" anchor="t" anchorCtr="0"/>
          <a:lstStyle/>
          <a:p>
            <a:pPr algn="ctr" defTabSz="442015">
              <a:lnSpc>
                <a:spcPct val="110000"/>
              </a:lnSpc>
            </a:pP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9A89D90-624C-4235-BD6E-0EEAB006F57C}"/>
              </a:ext>
            </a:extLst>
          </p:cNvPr>
          <p:cNvSpPr/>
          <p:nvPr/>
        </p:nvSpPr>
        <p:spPr>
          <a:xfrm>
            <a:off x="8186417" y="1635668"/>
            <a:ext cx="3261600" cy="4630297"/>
          </a:xfrm>
          <a:prstGeom prst="roundRect">
            <a:avLst>
              <a:gd name="adj" fmla="val 4670"/>
            </a:avLst>
          </a:prstGeom>
          <a:gradFill flip="none" rotWithShape="1">
            <a:gsLst>
              <a:gs pos="16000">
                <a:srgbClr val="FFFFFF"/>
              </a:gs>
              <a:gs pos="100000">
                <a:srgbClr val="E6E6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08000" rIns="72000" bIns="72000" rtlCol="0" anchor="t" anchorCtr="0"/>
          <a:lstStyle/>
          <a:p>
            <a:pPr algn="ctr" defTabSz="442015">
              <a:lnSpc>
                <a:spcPct val="110000"/>
              </a:lnSpc>
            </a:pPr>
            <a:endParaRPr lang="en-US" sz="1400" dirty="0">
              <a:solidFill>
                <a:srgbClr val="000000"/>
              </a:solidFill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42FD713-525C-4F6B-8F47-F77CD85DEE7F}"/>
              </a:ext>
            </a:extLst>
          </p:cNvPr>
          <p:cNvSpPr/>
          <p:nvPr/>
        </p:nvSpPr>
        <p:spPr>
          <a:xfrm>
            <a:off x="743982" y="1859065"/>
            <a:ext cx="3262087" cy="4406900"/>
          </a:xfrm>
          <a:prstGeom prst="roundRect">
            <a:avLst>
              <a:gd name="adj" fmla="val 4670"/>
            </a:avLst>
          </a:prstGeom>
          <a:gradFill flip="none" rotWithShape="1">
            <a:gsLst>
              <a:gs pos="16000">
                <a:srgbClr val="FFFFFF"/>
              </a:gs>
              <a:gs pos="100000">
                <a:srgbClr val="E6E6E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08000" rIns="72000" bIns="72000" rtlCol="0" anchor="t" anchorCtr="0"/>
          <a:lstStyle/>
          <a:p>
            <a:pPr algn="ctr" defTabSz="442015">
              <a:lnSpc>
                <a:spcPct val="110000"/>
              </a:lnSpc>
            </a:pP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PASOS A SEGUI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METODOLOGÍA</a:t>
            </a:r>
          </a:p>
        </p:txBody>
      </p:sp>
      <p:sp>
        <p:nvSpPr>
          <p:cNvPr id="6" name="Google Shape;316;p29">
            <a:extLst>
              <a:ext uri="{FF2B5EF4-FFF2-40B4-BE49-F238E27FC236}">
                <a16:creationId xmlns:a16="http://schemas.microsoft.com/office/drawing/2014/main" id="{4E3BF441-8C08-4653-B7C4-57E4D38A4A97}"/>
              </a:ext>
            </a:extLst>
          </p:cNvPr>
          <p:cNvSpPr txBox="1"/>
          <p:nvPr/>
        </p:nvSpPr>
        <p:spPr>
          <a:xfrm>
            <a:off x="8200582" y="2232301"/>
            <a:ext cx="3424234" cy="623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133" b="1" dirty="0">
                <a:solidFill>
                  <a:srgbClr val="FFFFFF"/>
                </a:solidFill>
                <a:latin typeface="EYInterstate Bold" panose="02000803030000020004" pitchFamily="2" charset="0"/>
                <a:ea typeface="Archivo"/>
                <a:cs typeface="Archivo"/>
                <a:sym typeface="Archivo"/>
              </a:rPr>
              <a:t>Plan de Comunicación</a:t>
            </a:r>
            <a:endParaRPr sz="933" dirty="0">
              <a:solidFill>
                <a:srgbClr val="FFFFFF"/>
              </a:solidFill>
              <a:latin typeface="EYInterstate Bold" panose="02000803030000020004" pitchFamily="2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7CC183-C5F9-41F7-9FAD-1DD5CF38C27F}"/>
              </a:ext>
            </a:extLst>
          </p:cNvPr>
          <p:cNvCxnSpPr>
            <a:cxnSpLocks/>
          </p:cNvCxnSpPr>
          <p:nvPr/>
        </p:nvCxnSpPr>
        <p:spPr>
          <a:xfrm>
            <a:off x="4226687" y="2464118"/>
            <a:ext cx="0" cy="3593782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7345D8-B52F-40B0-8A68-73E03AF3E185}"/>
              </a:ext>
            </a:extLst>
          </p:cNvPr>
          <p:cNvCxnSpPr>
            <a:cxnSpLocks/>
          </p:cNvCxnSpPr>
          <p:nvPr/>
        </p:nvCxnSpPr>
        <p:spPr>
          <a:xfrm>
            <a:off x="7923933" y="2464118"/>
            <a:ext cx="0" cy="3593782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Google Shape;314;p29">
            <a:extLst>
              <a:ext uri="{FF2B5EF4-FFF2-40B4-BE49-F238E27FC236}">
                <a16:creationId xmlns:a16="http://schemas.microsoft.com/office/drawing/2014/main" id="{8D6A3CC5-C3B6-470F-8D35-971C0775B3F6}"/>
              </a:ext>
            </a:extLst>
          </p:cNvPr>
          <p:cNvSpPr txBox="1"/>
          <p:nvPr/>
        </p:nvSpPr>
        <p:spPr>
          <a:xfrm>
            <a:off x="708269" y="2232301"/>
            <a:ext cx="2923407" cy="623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133" b="1" dirty="0">
                <a:solidFill>
                  <a:srgbClr val="FFFFFF"/>
                </a:solidFill>
                <a:latin typeface="EYInterstate Bold" panose="02000803030000020004" pitchFamily="2" charset="0"/>
                <a:ea typeface="Archivo"/>
                <a:cs typeface="Archivo"/>
                <a:sym typeface="Archivo"/>
              </a:rPr>
              <a:t>iLab Knowledge</a:t>
            </a:r>
            <a:endParaRPr sz="933" dirty="0">
              <a:solidFill>
                <a:srgbClr val="FFFFFF"/>
              </a:solidFill>
              <a:latin typeface="EYInterstate Bold" panose="02000803030000020004" pitchFamily="2" charset="0"/>
            </a:endParaRPr>
          </a:p>
        </p:txBody>
      </p:sp>
      <p:sp>
        <p:nvSpPr>
          <p:cNvPr id="7" name="Google Shape;318;p29">
            <a:extLst>
              <a:ext uri="{FF2B5EF4-FFF2-40B4-BE49-F238E27FC236}">
                <a16:creationId xmlns:a16="http://schemas.microsoft.com/office/drawing/2014/main" id="{A69DB268-0931-4906-8485-5EAD6ED07A26}"/>
              </a:ext>
            </a:extLst>
          </p:cNvPr>
          <p:cNvSpPr txBox="1"/>
          <p:nvPr/>
        </p:nvSpPr>
        <p:spPr>
          <a:xfrm>
            <a:off x="913322" y="2887530"/>
            <a:ext cx="2923407" cy="2108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000" b="1" u="sng" dirty="0">
                <a:ea typeface="Archivo"/>
                <a:cs typeface="Archivo"/>
                <a:sym typeface="Archivo"/>
              </a:rPr>
              <a:t>Data </a:t>
            </a:r>
            <a:r>
              <a:rPr lang="es-ES" sz="2000" b="1" u="sng" dirty="0" err="1">
                <a:ea typeface="Archivo"/>
                <a:cs typeface="Archivo"/>
                <a:sym typeface="Archivo"/>
              </a:rPr>
              <a:t>cleaning</a:t>
            </a:r>
            <a:endParaRPr lang="es-ES" sz="2000" b="1" u="sng" dirty="0">
              <a:ea typeface="Archivo"/>
              <a:cs typeface="Archivo"/>
              <a:sym typeface="Archivo"/>
            </a:endParaRPr>
          </a:p>
          <a:p>
            <a:endParaRPr lang="es-ES" sz="1700" u="sng" dirty="0"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sym typeface="Archivo"/>
              </a:rPr>
              <a:t>Análisis del </a:t>
            </a:r>
            <a:r>
              <a:rPr lang="es-ES" sz="1400" dirty="0" err="1">
                <a:sym typeface="Archivo"/>
              </a:rPr>
              <a:t>dataset</a:t>
            </a:r>
            <a:endParaRPr lang="es-ES" sz="1400" dirty="0"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sym typeface="Archivo"/>
              </a:rPr>
              <a:t>Comprobación de </a:t>
            </a:r>
            <a:r>
              <a:rPr lang="es-ES" sz="1400" dirty="0" err="1">
                <a:sym typeface="Archivo"/>
              </a:rPr>
              <a:t>null</a:t>
            </a:r>
            <a:r>
              <a:rPr lang="es-ES" sz="1400" dirty="0">
                <a:sym typeface="Archivo"/>
              </a:rPr>
              <a:t> </a:t>
            </a:r>
            <a:r>
              <a:rPr lang="es-ES" sz="1400" dirty="0" err="1">
                <a:sym typeface="Archivo"/>
              </a:rPr>
              <a:t>values</a:t>
            </a:r>
            <a:endParaRPr lang="es-ES" sz="1400" dirty="0"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_tradnl" sz="1400" dirty="0">
                <a:sym typeface="Archivo"/>
              </a:rPr>
              <a:t>Análisis de </a:t>
            </a:r>
            <a:r>
              <a:rPr lang="es-ES_tradnl" sz="1400" dirty="0" err="1">
                <a:sym typeface="Archivo"/>
              </a:rPr>
              <a:t>outliers</a:t>
            </a:r>
            <a:endParaRPr lang="es-ES_tradnl" sz="1400" dirty="0"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_tradnl" sz="1400" dirty="0">
                <a:sym typeface="Archivo"/>
              </a:rPr>
              <a:t>Correlación entre variables</a:t>
            </a:r>
            <a:endParaRPr sz="1400" dirty="0">
              <a:sym typeface="Archivo"/>
            </a:endParaRPr>
          </a:p>
        </p:txBody>
      </p:sp>
      <p:sp>
        <p:nvSpPr>
          <p:cNvPr id="5" name="Google Shape;315;p29">
            <a:extLst>
              <a:ext uri="{FF2B5EF4-FFF2-40B4-BE49-F238E27FC236}">
                <a16:creationId xmlns:a16="http://schemas.microsoft.com/office/drawing/2014/main" id="{3FAE066F-F460-4922-832C-B2BB7F18AD39}"/>
              </a:ext>
            </a:extLst>
          </p:cNvPr>
          <p:cNvSpPr txBox="1"/>
          <p:nvPr/>
        </p:nvSpPr>
        <p:spPr>
          <a:xfrm>
            <a:off x="4612995" y="2232301"/>
            <a:ext cx="2923407" cy="623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133" b="1" dirty="0">
                <a:solidFill>
                  <a:srgbClr val="FFFFFF"/>
                </a:solidFill>
                <a:latin typeface="EYInterstate Bold" panose="02000803030000020004" pitchFamily="2" charset="0"/>
                <a:ea typeface="Archivo"/>
                <a:cs typeface="Archivo"/>
                <a:sym typeface="Archivo"/>
              </a:rPr>
              <a:t>iLab Accelerator</a:t>
            </a:r>
            <a:endParaRPr sz="933" dirty="0">
              <a:solidFill>
                <a:srgbClr val="FFFFFF"/>
              </a:solidFill>
              <a:latin typeface="EYInterstate Bold" panose="02000803030000020004" pitchFamily="2" charset="0"/>
            </a:endParaRPr>
          </a:p>
        </p:txBody>
      </p:sp>
      <p:sp>
        <p:nvSpPr>
          <p:cNvPr id="8" name="Google Shape;319;p29">
            <a:extLst>
              <a:ext uri="{FF2B5EF4-FFF2-40B4-BE49-F238E27FC236}">
                <a16:creationId xmlns:a16="http://schemas.microsoft.com/office/drawing/2014/main" id="{07F18DAA-D7C4-41D7-8EF6-832CA8D22691}"/>
              </a:ext>
            </a:extLst>
          </p:cNvPr>
          <p:cNvSpPr txBox="1"/>
          <p:nvPr/>
        </p:nvSpPr>
        <p:spPr>
          <a:xfrm>
            <a:off x="4686062" y="2887530"/>
            <a:ext cx="3005638" cy="2646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000" b="1" u="sng" dirty="0">
                <a:sym typeface="Archivo"/>
              </a:rPr>
              <a:t>Visualización</a:t>
            </a:r>
          </a:p>
          <a:p>
            <a:endParaRPr lang="es-ES" sz="1700" u="sng" dirty="0">
              <a:ea typeface="Archivo"/>
              <a:cs typeface="Archivo"/>
              <a:sym typeface="Archivo"/>
            </a:endParaRPr>
          </a:p>
          <a:p>
            <a:r>
              <a:rPr lang="es-ES" sz="1400" dirty="0">
                <a:ea typeface="Archivo"/>
                <a:cs typeface="Archivo"/>
                <a:sym typeface="Archivo"/>
              </a:rPr>
              <a:t>Visualización gráfica de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ea typeface="Archivo"/>
                <a:cs typeface="Archivo"/>
                <a:sym typeface="Archivo"/>
              </a:rPr>
              <a:t>Variables numérica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ea typeface="Archivo"/>
                <a:cs typeface="Archivo"/>
                <a:sym typeface="Archivo"/>
              </a:rPr>
              <a:t>Variables categórica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ea typeface="Archivo"/>
                <a:cs typeface="Archivo"/>
                <a:sym typeface="Archivo"/>
              </a:rPr>
              <a:t>Matriz de correlación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 err="1">
                <a:ea typeface="Archivo"/>
                <a:cs typeface="Archivo"/>
                <a:sym typeface="Archivo"/>
              </a:rPr>
              <a:t>Null</a:t>
            </a:r>
            <a:r>
              <a:rPr lang="es-ES" sz="1400" dirty="0">
                <a:ea typeface="Archivo"/>
                <a:cs typeface="Archivo"/>
                <a:sym typeface="Archivo"/>
              </a:rPr>
              <a:t>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values</a:t>
            </a:r>
            <a:endParaRPr lang="es-ES" sz="1400" dirty="0">
              <a:ea typeface="Archivo"/>
              <a:cs typeface="Archivo"/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 err="1">
                <a:ea typeface="Archivo"/>
                <a:cs typeface="Archivo"/>
                <a:sym typeface="Archivo"/>
              </a:rPr>
              <a:t>Outliers</a:t>
            </a:r>
            <a:endParaRPr lang="es-ES" sz="1400" dirty="0">
              <a:ea typeface="Archivo"/>
              <a:cs typeface="Archivo"/>
              <a:sym typeface="Archivo"/>
            </a:endParaRPr>
          </a:p>
        </p:txBody>
      </p:sp>
      <p:sp>
        <p:nvSpPr>
          <p:cNvPr id="9" name="Google Shape;320;p29">
            <a:extLst>
              <a:ext uri="{FF2B5EF4-FFF2-40B4-BE49-F238E27FC236}">
                <a16:creationId xmlns:a16="http://schemas.microsoft.com/office/drawing/2014/main" id="{7B5FA118-66F3-4584-B96A-5036FC744C73}"/>
              </a:ext>
            </a:extLst>
          </p:cNvPr>
          <p:cNvSpPr txBox="1"/>
          <p:nvPr/>
        </p:nvSpPr>
        <p:spPr>
          <a:xfrm>
            <a:off x="8342967" y="2887530"/>
            <a:ext cx="3105050" cy="3077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s-ES" sz="2000" b="1" u="sng" dirty="0">
                <a:ea typeface="Archivo"/>
                <a:cs typeface="Archivo"/>
                <a:sym typeface="Archivo"/>
              </a:rPr>
              <a:t>Creación del modelo</a:t>
            </a:r>
          </a:p>
          <a:p>
            <a:endParaRPr lang="es-ES" sz="1700" u="sng" dirty="0">
              <a:ea typeface="Archivo"/>
              <a:cs typeface="Archivo"/>
              <a:sym typeface="Archivo"/>
            </a:endParaRPr>
          </a:p>
          <a:p>
            <a:r>
              <a:rPr lang="es-ES" sz="1400" dirty="0">
                <a:ea typeface="Archivo"/>
                <a:cs typeface="Archivo"/>
                <a:sym typeface="Archivo"/>
              </a:rPr>
              <a:t>Creación de modelos de clasificación para predecir la satisfacción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 err="1">
                <a:ea typeface="Archivo"/>
                <a:cs typeface="Archivo"/>
                <a:sym typeface="Archivo"/>
              </a:rPr>
              <a:t>Logistic</a:t>
            </a:r>
            <a:r>
              <a:rPr lang="es-ES" sz="1400" dirty="0">
                <a:ea typeface="Archivo"/>
                <a:cs typeface="Archivo"/>
                <a:sym typeface="Archivo"/>
              </a:rPr>
              <a:t>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regression</a:t>
            </a:r>
            <a:endParaRPr lang="es-ES" sz="1400" dirty="0">
              <a:ea typeface="Archivo"/>
              <a:cs typeface="Archivo"/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ea typeface="Archivo"/>
                <a:cs typeface="Archivo"/>
                <a:sym typeface="Archivo"/>
              </a:rPr>
              <a:t>K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Nearest</a:t>
            </a:r>
            <a:r>
              <a:rPr lang="es-ES" sz="1400" dirty="0">
                <a:ea typeface="Archivo"/>
                <a:cs typeface="Archivo"/>
                <a:sym typeface="Archivo"/>
              </a:rPr>
              <a:t>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Neighbours</a:t>
            </a:r>
            <a:endParaRPr lang="es-ES" sz="1400" dirty="0">
              <a:ea typeface="Archivo"/>
              <a:cs typeface="Archivo"/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 err="1">
                <a:ea typeface="Archivo"/>
                <a:cs typeface="Archivo"/>
                <a:sym typeface="Archivo"/>
              </a:rPr>
              <a:t>Random</a:t>
            </a:r>
            <a:r>
              <a:rPr lang="es-ES" sz="1400" dirty="0">
                <a:ea typeface="Archivo"/>
                <a:cs typeface="Archivo"/>
                <a:sym typeface="Archivo"/>
              </a:rPr>
              <a:t> Forest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Classifier</a:t>
            </a:r>
            <a:endParaRPr lang="es-ES" sz="1400" dirty="0">
              <a:ea typeface="Archivo"/>
              <a:cs typeface="Archivo"/>
              <a:sym typeface="Archivo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 err="1">
                <a:ea typeface="Archivo"/>
                <a:cs typeface="Archivo"/>
                <a:sym typeface="Archivo"/>
              </a:rPr>
              <a:t>Support</a:t>
            </a:r>
            <a:r>
              <a:rPr lang="es-ES" sz="1400" dirty="0">
                <a:ea typeface="Archivo"/>
                <a:cs typeface="Archivo"/>
                <a:sym typeface="Archivo"/>
              </a:rPr>
              <a:t> Vector Machine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sz="1400" dirty="0">
                <a:ea typeface="Archivo"/>
                <a:cs typeface="Archivo"/>
                <a:sym typeface="Archivo"/>
              </a:rPr>
              <a:t>Ada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Boost</a:t>
            </a:r>
            <a:r>
              <a:rPr lang="es-ES" sz="1400" dirty="0">
                <a:ea typeface="Archivo"/>
                <a:cs typeface="Archivo"/>
                <a:sym typeface="Archivo"/>
              </a:rPr>
              <a:t> </a:t>
            </a:r>
            <a:r>
              <a:rPr lang="es-ES" sz="1400" dirty="0" err="1">
                <a:ea typeface="Archivo"/>
                <a:cs typeface="Archivo"/>
                <a:sym typeface="Archivo"/>
              </a:rPr>
              <a:t>Classifier</a:t>
            </a:r>
            <a:endParaRPr lang="es-ES" sz="1400" dirty="0">
              <a:ea typeface="Archivo"/>
              <a:cs typeface="Archivo"/>
              <a:sym typeface="Archivo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67403CC-21CC-4B48-9273-CAEF4A8F6E40}"/>
              </a:ext>
            </a:extLst>
          </p:cNvPr>
          <p:cNvGrpSpPr/>
          <p:nvPr/>
        </p:nvGrpSpPr>
        <p:grpSpPr>
          <a:xfrm>
            <a:off x="9285260" y="1879020"/>
            <a:ext cx="1187599" cy="781056"/>
            <a:chOff x="8777968" y="1844685"/>
            <a:chExt cx="1093106" cy="720000"/>
          </a:xfrm>
        </p:grpSpPr>
        <p:sp>
          <p:nvSpPr>
            <p:cNvPr id="15" name="Freeform 24">
              <a:extLst>
                <a:ext uri="{FF2B5EF4-FFF2-40B4-BE49-F238E27FC236}">
                  <a16:creationId xmlns:a16="http://schemas.microsoft.com/office/drawing/2014/main" id="{93B52674-7CDD-44A7-8BE9-D6BB2813807C}"/>
                </a:ext>
              </a:extLst>
            </p:cNvPr>
            <p:cNvSpPr>
              <a:spLocks/>
            </p:cNvSpPr>
            <p:nvPr/>
          </p:nvSpPr>
          <p:spPr bwMode="gray">
            <a:xfrm>
              <a:off x="8777968" y="1896696"/>
              <a:ext cx="369383" cy="615977"/>
            </a:xfrm>
            <a:custGeom>
              <a:avLst/>
              <a:gdLst/>
              <a:ahLst/>
              <a:cxnLst>
                <a:cxn ang="0">
                  <a:pos x="56" y="357"/>
                </a:cxn>
                <a:cxn ang="0">
                  <a:pos x="190" y="441"/>
                </a:cxn>
                <a:cxn ang="0">
                  <a:pos x="251" y="377"/>
                </a:cxn>
                <a:cxn ang="0">
                  <a:pos x="175" y="319"/>
                </a:cxn>
                <a:cxn ang="0">
                  <a:pos x="123" y="262"/>
                </a:cxn>
                <a:cxn ang="0">
                  <a:pos x="187" y="206"/>
                </a:cxn>
                <a:cxn ang="0">
                  <a:pos x="233" y="157"/>
                </a:cxn>
                <a:cxn ang="0">
                  <a:pos x="187" y="117"/>
                </a:cxn>
                <a:cxn ang="0">
                  <a:pos x="67" y="181"/>
                </a:cxn>
                <a:cxn ang="0">
                  <a:pos x="17" y="125"/>
                </a:cxn>
                <a:cxn ang="0">
                  <a:pos x="185" y="0"/>
                </a:cxn>
                <a:cxn ang="0">
                  <a:pos x="350" y="146"/>
                </a:cxn>
                <a:cxn ang="0">
                  <a:pos x="290" y="255"/>
                </a:cxn>
                <a:cxn ang="0">
                  <a:pos x="377" y="391"/>
                </a:cxn>
                <a:cxn ang="0">
                  <a:pos x="189" y="558"/>
                </a:cxn>
                <a:cxn ang="0">
                  <a:pos x="0" y="413"/>
                </a:cxn>
                <a:cxn ang="0">
                  <a:pos x="56" y="357"/>
                </a:cxn>
              </a:cxnLst>
              <a:rect l="0" t="0" r="r" b="b"/>
              <a:pathLst>
                <a:path w="377" h="558">
                  <a:moveTo>
                    <a:pt x="56" y="357"/>
                  </a:moveTo>
                  <a:cubicBezTo>
                    <a:pt x="122" y="357"/>
                    <a:pt x="106" y="441"/>
                    <a:pt x="190" y="441"/>
                  </a:cubicBezTo>
                  <a:cubicBezTo>
                    <a:pt x="225" y="441"/>
                    <a:pt x="251" y="412"/>
                    <a:pt x="251" y="377"/>
                  </a:cubicBezTo>
                  <a:cubicBezTo>
                    <a:pt x="251" y="332"/>
                    <a:pt x="214" y="320"/>
                    <a:pt x="175" y="319"/>
                  </a:cubicBezTo>
                  <a:cubicBezTo>
                    <a:pt x="150" y="318"/>
                    <a:pt x="123" y="302"/>
                    <a:pt x="123" y="262"/>
                  </a:cubicBezTo>
                  <a:cubicBezTo>
                    <a:pt x="123" y="229"/>
                    <a:pt x="139" y="218"/>
                    <a:pt x="187" y="206"/>
                  </a:cubicBezTo>
                  <a:cubicBezTo>
                    <a:pt x="215" y="200"/>
                    <a:pt x="233" y="187"/>
                    <a:pt x="233" y="157"/>
                  </a:cubicBezTo>
                  <a:cubicBezTo>
                    <a:pt x="233" y="130"/>
                    <a:pt x="211" y="117"/>
                    <a:pt x="187" y="117"/>
                  </a:cubicBezTo>
                  <a:cubicBezTo>
                    <a:pt x="125" y="117"/>
                    <a:pt x="122" y="181"/>
                    <a:pt x="67" y="181"/>
                  </a:cubicBezTo>
                  <a:cubicBezTo>
                    <a:pt x="36" y="181"/>
                    <a:pt x="17" y="151"/>
                    <a:pt x="17" y="125"/>
                  </a:cubicBezTo>
                  <a:cubicBezTo>
                    <a:pt x="17" y="50"/>
                    <a:pt x="114" y="0"/>
                    <a:pt x="185" y="0"/>
                  </a:cubicBezTo>
                  <a:cubicBezTo>
                    <a:pt x="275" y="0"/>
                    <a:pt x="350" y="54"/>
                    <a:pt x="350" y="146"/>
                  </a:cubicBezTo>
                  <a:cubicBezTo>
                    <a:pt x="350" y="185"/>
                    <a:pt x="332" y="224"/>
                    <a:pt x="290" y="255"/>
                  </a:cubicBezTo>
                  <a:cubicBezTo>
                    <a:pt x="347" y="278"/>
                    <a:pt x="377" y="329"/>
                    <a:pt x="377" y="391"/>
                  </a:cubicBezTo>
                  <a:cubicBezTo>
                    <a:pt x="377" y="488"/>
                    <a:pt x="294" y="558"/>
                    <a:pt x="189" y="558"/>
                  </a:cubicBezTo>
                  <a:cubicBezTo>
                    <a:pt x="80" y="558"/>
                    <a:pt x="0" y="485"/>
                    <a:pt x="0" y="413"/>
                  </a:cubicBezTo>
                  <a:cubicBezTo>
                    <a:pt x="0" y="383"/>
                    <a:pt x="30" y="357"/>
                    <a:pt x="56" y="357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ln>
                  <a:solidFill>
                    <a:sysClr val="windowText" lastClr="000000"/>
                  </a:solidFill>
                </a:ln>
                <a:solidFill>
                  <a:srgbClr val="646464"/>
                </a:solidFill>
              </a:endParaRPr>
            </a:p>
          </p:txBody>
        </p:sp>
        <p:pic>
          <p:nvPicPr>
            <p:cNvPr id="24" name="Graphic 23" descr="Gears with solid fill">
              <a:extLst>
                <a:ext uri="{FF2B5EF4-FFF2-40B4-BE49-F238E27FC236}">
                  <a16:creationId xmlns:a16="http://schemas.microsoft.com/office/drawing/2014/main" id="{2FB1BFEA-F3A8-4856-9CFE-370242E56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152164" y="1844685"/>
              <a:ext cx="718910" cy="720000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0611727-3D7E-4526-89A7-313954AEC69C}"/>
              </a:ext>
            </a:extLst>
          </p:cNvPr>
          <p:cNvGrpSpPr/>
          <p:nvPr/>
        </p:nvGrpSpPr>
        <p:grpSpPr>
          <a:xfrm>
            <a:off x="5399832" y="1879020"/>
            <a:ext cx="1348064" cy="781056"/>
            <a:chOff x="4854820" y="1879020"/>
            <a:chExt cx="1240803" cy="720000"/>
          </a:xfrm>
        </p:grpSpPr>
        <p:sp>
          <p:nvSpPr>
            <p:cNvPr id="14" name="Freeform 23">
              <a:extLst>
                <a:ext uri="{FF2B5EF4-FFF2-40B4-BE49-F238E27FC236}">
                  <a16:creationId xmlns:a16="http://schemas.microsoft.com/office/drawing/2014/main" id="{72C5FE2F-EC74-4DB2-968E-D1B5498518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4820" y="1923482"/>
              <a:ext cx="396000" cy="631076"/>
            </a:xfrm>
            <a:custGeom>
              <a:avLst/>
              <a:gdLst/>
              <a:ahLst/>
              <a:cxnLst>
                <a:cxn ang="0">
                  <a:pos x="314" y="434"/>
                </a:cxn>
                <a:cxn ang="0">
                  <a:pos x="371" y="490"/>
                </a:cxn>
                <a:cxn ang="0">
                  <a:pos x="314" y="546"/>
                </a:cxn>
                <a:cxn ang="0">
                  <a:pos x="69" y="546"/>
                </a:cxn>
                <a:cxn ang="0">
                  <a:pos x="0" y="493"/>
                </a:cxn>
                <a:cxn ang="0">
                  <a:pos x="92" y="366"/>
                </a:cxn>
                <a:cxn ang="0">
                  <a:pos x="228" y="167"/>
                </a:cxn>
                <a:cxn ang="0">
                  <a:pos x="182" y="117"/>
                </a:cxn>
                <a:cxn ang="0">
                  <a:pos x="65" y="230"/>
                </a:cxn>
                <a:cxn ang="0">
                  <a:pos x="8" y="172"/>
                </a:cxn>
                <a:cxn ang="0">
                  <a:pos x="189" y="0"/>
                </a:cxn>
                <a:cxn ang="0">
                  <a:pos x="359" y="162"/>
                </a:cxn>
                <a:cxn ang="0">
                  <a:pos x="187" y="434"/>
                </a:cxn>
                <a:cxn ang="0">
                  <a:pos x="314" y="434"/>
                </a:cxn>
              </a:cxnLst>
              <a:rect l="0" t="0" r="r" b="b"/>
              <a:pathLst>
                <a:path w="371" h="546">
                  <a:moveTo>
                    <a:pt x="314" y="434"/>
                  </a:moveTo>
                  <a:cubicBezTo>
                    <a:pt x="352" y="434"/>
                    <a:pt x="371" y="462"/>
                    <a:pt x="371" y="490"/>
                  </a:cubicBezTo>
                  <a:cubicBezTo>
                    <a:pt x="371" y="518"/>
                    <a:pt x="352" y="546"/>
                    <a:pt x="314" y="546"/>
                  </a:cubicBezTo>
                  <a:cubicBezTo>
                    <a:pt x="69" y="546"/>
                    <a:pt x="69" y="546"/>
                    <a:pt x="69" y="546"/>
                  </a:cubicBezTo>
                  <a:cubicBezTo>
                    <a:pt x="29" y="546"/>
                    <a:pt x="0" y="524"/>
                    <a:pt x="0" y="493"/>
                  </a:cubicBezTo>
                  <a:cubicBezTo>
                    <a:pt x="0" y="448"/>
                    <a:pt x="68" y="393"/>
                    <a:pt x="92" y="366"/>
                  </a:cubicBezTo>
                  <a:cubicBezTo>
                    <a:pt x="123" y="331"/>
                    <a:pt x="228" y="221"/>
                    <a:pt x="228" y="167"/>
                  </a:cubicBezTo>
                  <a:cubicBezTo>
                    <a:pt x="228" y="131"/>
                    <a:pt x="211" y="117"/>
                    <a:pt x="182" y="117"/>
                  </a:cubicBezTo>
                  <a:cubicBezTo>
                    <a:pt x="101" y="117"/>
                    <a:pt x="142" y="230"/>
                    <a:pt x="65" y="230"/>
                  </a:cubicBezTo>
                  <a:cubicBezTo>
                    <a:pt x="26" y="230"/>
                    <a:pt x="8" y="200"/>
                    <a:pt x="8" y="172"/>
                  </a:cubicBezTo>
                  <a:cubicBezTo>
                    <a:pt x="8" y="80"/>
                    <a:pt x="83" y="0"/>
                    <a:pt x="189" y="0"/>
                  </a:cubicBezTo>
                  <a:cubicBezTo>
                    <a:pt x="282" y="0"/>
                    <a:pt x="359" y="64"/>
                    <a:pt x="359" y="162"/>
                  </a:cubicBezTo>
                  <a:cubicBezTo>
                    <a:pt x="359" y="269"/>
                    <a:pt x="251" y="355"/>
                    <a:pt x="187" y="434"/>
                  </a:cubicBezTo>
                  <a:lnTo>
                    <a:pt x="314" y="43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ln>
                  <a:solidFill>
                    <a:sysClr val="windowText" lastClr="000000"/>
                  </a:solidFill>
                </a:ln>
                <a:solidFill>
                  <a:srgbClr val="646464"/>
                </a:solidFill>
              </a:endParaRPr>
            </a:p>
          </p:txBody>
        </p:sp>
        <p:pic>
          <p:nvPicPr>
            <p:cNvPr id="26" name="Graphic 25" descr="Statistics with solid fill">
              <a:extLst>
                <a:ext uri="{FF2B5EF4-FFF2-40B4-BE49-F238E27FC236}">
                  <a16:creationId xmlns:a16="http://schemas.microsoft.com/office/drawing/2014/main" id="{30DDC3CF-D015-449D-BEB1-76FE6BB85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75623" y="1879020"/>
              <a:ext cx="720000" cy="7200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BE43B37-96FB-411E-857E-398A73F8FDE1}"/>
              </a:ext>
            </a:extLst>
          </p:cNvPr>
          <p:cNvGrpSpPr/>
          <p:nvPr/>
        </p:nvGrpSpPr>
        <p:grpSpPr>
          <a:xfrm>
            <a:off x="1518485" y="1879020"/>
            <a:ext cx="1264872" cy="781056"/>
            <a:chOff x="1352968" y="1876251"/>
            <a:chExt cx="1164230" cy="720000"/>
          </a:xfrm>
        </p:grpSpPr>
        <p:sp>
          <p:nvSpPr>
            <p:cNvPr id="13" name="Freeform 46">
              <a:extLst>
                <a:ext uri="{FF2B5EF4-FFF2-40B4-BE49-F238E27FC236}">
                  <a16:creationId xmlns:a16="http://schemas.microsoft.com/office/drawing/2014/main" id="{74EEA7B5-E4FB-47D5-963A-EFBEB9EB49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2968" y="1941051"/>
              <a:ext cx="337610" cy="590400"/>
            </a:xfrm>
            <a:custGeom>
              <a:avLst/>
              <a:gdLst/>
              <a:ahLst/>
              <a:cxnLst>
                <a:cxn ang="0">
                  <a:pos x="95" y="113"/>
                </a:cxn>
                <a:cxn ang="0">
                  <a:pos x="57" y="113"/>
                </a:cxn>
                <a:cxn ang="0">
                  <a:pos x="0" y="56"/>
                </a:cxn>
                <a:cxn ang="0">
                  <a:pos x="57" y="0"/>
                </a:cxn>
                <a:cxn ang="0">
                  <a:pos x="156" y="0"/>
                </a:cxn>
                <a:cxn ang="0">
                  <a:pos x="216" y="61"/>
                </a:cxn>
                <a:cxn ang="0">
                  <a:pos x="216" y="474"/>
                </a:cxn>
                <a:cxn ang="0">
                  <a:pos x="156" y="539"/>
                </a:cxn>
                <a:cxn ang="0">
                  <a:pos x="95" y="474"/>
                </a:cxn>
                <a:cxn ang="0">
                  <a:pos x="95" y="113"/>
                </a:cxn>
              </a:cxnLst>
              <a:rect l="0" t="0" r="r" b="b"/>
              <a:pathLst>
                <a:path w="216" h="539">
                  <a:moveTo>
                    <a:pt x="95" y="113"/>
                  </a:moveTo>
                  <a:cubicBezTo>
                    <a:pt x="57" y="113"/>
                    <a:pt x="57" y="113"/>
                    <a:pt x="57" y="113"/>
                  </a:cubicBezTo>
                  <a:cubicBezTo>
                    <a:pt x="19" y="113"/>
                    <a:pt x="0" y="84"/>
                    <a:pt x="0" y="56"/>
                  </a:cubicBezTo>
                  <a:cubicBezTo>
                    <a:pt x="0" y="29"/>
                    <a:pt x="19" y="0"/>
                    <a:pt x="57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83" y="0"/>
                    <a:pt x="216" y="11"/>
                    <a:pt x="216" y="61"/>
                  </a:cubicBezTo>
                  <a:cubicBezTo>
                    <a:pt x="216" y="474"/>
                    <a:pt x="216" y="474"/>
                    <a:pt x="216" y="474"/>
                  </a:cubicBezTo>
                  <a:cubicBezTo>
                    <a:pt x="216" y="517"/>
                    <a:pt x="191" y="539"/>
                    <a:pt x="156" y="539"/>
                  </a:cubicBezTo>
                  <a:cubicBezTo>
                    <a:pt x="120" y="539"/>
                    <a:pt x="95" y="517"/>
                    <a:pt x="95" y="474"/>
                  </a:cubicBezTo>
                  <a:lnTo>
                    <a:pt x="95" y="11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ln>
                  <a:solidFill>
                    <a:sysClr val="windowText" lastClr="000000"/>
                  </a:solidFill>
                </a:ln>
                <a:solidFill>
                  <a:srgbClr val="646464"/>
                </a:solidFill>
              </a:endParaRPr>
            </a:p>
          </p:txBody>
        </p:sp>
        <p:pic>
          <p:nvPicPr>
            <p:cNvPr id="28" name="Graphic 27" descr="Research with solid fill">
              <a:extLst>
                <a:ext uri="{FF2B5EF4-FFF2-40B4-BE49-F238E27FC236}">
                  <a16:creationId xmlns:a16="http://schemas.microsoft.com/office/drawing/2014/main" id="{7667EE32-A3CE-47F3-94C5-FA3617965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797198" y="1876251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06447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84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CATEGÓ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FD4225E-88C6-4E61-A2C7-AA927D473EA2}"/>
              </a:ext>
            </a:extLst>
          </p:cNvPr>
          <p:cNvSpPr txBox="1"/>
          <p:nvPr/>
        </p:nvSpPr>
        <p:spPr>
          <a:xfrm>
            <a:off x="6723982" y="2077708"/>
            <a:ext cx="3276000" cy="3077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Satisfaction / neutral or dissatisfied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B2C4145-DDED-4DC1-BFCB-503154F4A90D}"/>
              </a:ext>
            </a:extLst>
          </p:cNvPr>
          <p:cNvSpPr txBox="1"/>
          <p:nvPr/>
        </p:nvSpPr>
        <p:spPr>
          <a:xfrm>
            <a:off x="1829608" y="3693286"/>
            <a:ext cx="2224272" cy="3077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cs typeface="Arial" panose="020B0604020202020204" pitchFamily="34" charset="0"/>
              </a:rPr>
              <a:t>Female / Male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54767AE-1545-4C60-B483-D9B8D022F261}"/>
              </a:ext>
            </a:extLst>
          </p:cNvPr>
          <p:cNvSpPr txBox="1"/>
          <p:nvPr/>
        </p:nvSpPr>
        <p:spPr>
          <a:xfrm>
            <a:off x="8223278" y="3693287"/>
            <a:ext cx="2890893" cy="3077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cs typeface="Arial" panose="020B0604020202020204" pitchFamily="34" charset="0"/>
              </a:rPr>
              <a:t>Business or personal trave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D123BC8-272F-496D-9C12-43846D9AA1FF}"/>
              </a:ext>
            </a:extLst>
          </p:cNvPr>
          <p:cNvSpPr txBox="1"/>
          <p:nvPr/>
        </p:nvSpPr>
        <p:spPr>
          <a:xfrm>
            <a:off x="2016760" y="5620182"/>
            <a:ext cx="2465248" cy="3077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cs typeface="Arial" panose="020B0604020202020204" pitchFamily="34" charset="0"/>
              </a:rPr>
              <a:t>Loyal / </a:t>
            </a:r>
            <a:r>
              <a:rPr lang="en-US" sz="1400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disloyal custom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C92C5C5-E644-4913-9E2E-D1443A3847EA}"/>
              </a:ext>
            </a:extLst>
          </p:cNvPr>
          <p:cNvSpPr txBox="1"/>
          <p:nvPr/>
        </p:nvSpPr>
        <p:spPr>
          <a:xfrm>
            <a:off x="7681118" y="5620181"/>
            <a:ext cx="2655816" cy="3077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cs typeface="Arial" panose="020B0604020202020204" pitchFamily="34" charset="0"/>
              </a:rPr>
              <a:t>Business / Eco / Eco plu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356D04F0-E32D-4D3F-BF0B-D91E85DAE3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5645572"/>
              </p:ext>
            </p:extLst>
          </p:nvPr>
        </p:nvGraphicFramePr>
        <p:xfrm>
          <a:off x="2416710" y="1393406"/>
          <a:ext cx="7358580" cy="4733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7" name="Graphic 36" descr="Research with solid fill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44819" y="366022"/>
            <a:ext cx="360546" cy="36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D3453F-4E90-48F5-ACC0-C7EC63291E1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6908" y="1242426"/>
            <a:ext cx="3664138" cy="1143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991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NUMÉ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356D04F0-E32D-4D3F-BF0B-D91E85DAE3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135717"/>
              </p:ext>
            </p:extLst>
          </p:nvPr>
        </p:nvGraphicFramePr>
        <p:xfrm>
          <a:off x="1952747" y="1367106"/>
          <a:ext cx="8276690" cy="490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3B2C4145-DDED-4DC1-BFCB-503154F4A90D}"/>
              </a:ext>
            </a:extLst>
          </p:cNvPr>
          <p:cNvSpPr txBox="1"/>
          <p:nvPr/>
        </p:nvSpPr>
        <p:spPr>
          <a:xfrm>
            <a:off x="8544584" y="2202148"/>
            <a:ext cx="3180508" cy="738664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Variables </a:t>
            </a:r>
            <a:r>
              <a:rPr lang="en-US" sz="1400" b="1" kern="0" dirty="0" err="1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numeradas</a:t>
            </a:r>
            <a:r>
              <a:rPr lang="en-US" sz="1400" b="1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 del 1-5 </a:t>
            </a:r>
            <a:r>
              <a:rPr lang="en-US" sz="1400" b="1" kern="0" dirty="0" err="1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dependiendo</a:t>
            </a:r>
            <a:r>
              <a:rPr lang="en-US" sz="1400" b="1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 de la </a:t>
            </a:r>
            <a:r>
              <a:rPr lang="en-US" sz="1400" b="1" kern="0" dirty="0" err="1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satisfacción</a:t>
            </a:r>
            <a:r>
              <a:rPr lang="en-US" sz="1400" b="1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 de </a:t>
            </a:r>
            <a:r>
              <a:rPr lang="en-US" sz="1400" b="1" kern="0" dirty="0" err="1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cada</a:t>
            </a:r>
            <a:r>
              <a:rPr lang="en-US" sz="1400" b="1" kern="0" dirty="0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 </a:t>
            </a:r>
            <a:r>
              <a:rPr lang="en-US" sz="1400" b="1" kern="0" dirty="0" err="1">
                <a:solidFill>
                  <a:srgbClr val="000000"/>
                </a:solidFill>
                <a:latin typeface="EYInterstate Light"/>
                <a:cs typeface="Arial" panose="020B0604020202020204" pitchFamily="34" charset="0"/>
              </a:rPr>
              <a:t>usuario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pic>
        <p:nvPicPr>
          <p:cNvPr id="37" name="Graphic 36" descr="Research with solid fill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44819" y="366022"/>
            <a:ext cx="36054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21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35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NUMÉRIC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pic>
        <p:nvPicPr>
          <p:cNvPr id="37" name="Graphic 36" descr="Research with solid fill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4819" y="366022"/>
            <a:ext cx="360546" cy="360000"/>
          </a:xfrm>
          <a:prstGeom prst="rect">
            <a:avLst/>
          </a:prstGeom>
        </p:spPr>
      </p:pic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356D04F0-E32D-4D3F-BF0B-D91E85DAE3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2665398"/>
              </p:ext>
            </p:extLst>
          </p:nvPr>
        </p:nvGraphicFramePr>
        <p:xfrm>
          <a:off x="3682215" y="1233515"/>
          <a:ext cx="7358580" cy="4733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5F7F846-8398-47D8-951F-FFAC28809F45}"/>
              </a:ext>
            </a:extLst>
          </p:cNvPr>
          <p:cNvSpPr txBox="1"/>
          <p:nvPr/>
        </p:nvSpPr>
        <p:spPr>
          <a:xfrm>
            <a:off x="1151205" y="2230683"/>
            <a:ext cx="2418750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400" dirty="0">
                <a:solidFill>
                  <a:schemeClr val="bg1"/>
                </a:solidFill>
              </a:rPr>
              <a:t>No </a:t>
            </a:r>
            <a:r>
              <a:rPr lang="en-GB" sz="1400" dirty="0" err="1">
                <a:solidFill>
                  <a:schemeClr val="bg1"/>
                </a:solidFill>
              </a:rPr>
              <a:t>interesan</a:t>
            </a:r>
            <a:r>
              <a:rPr lang="en-GB" sz="1400" dirty="0">
                <a:solidFill>
                  <a:schemeClr val="bg1"/>
                </a:solidFill>
              </a:rPr>
              <a:t> para la </a:t>
            </a:r>
            <a:r>
              <a:rPr lang="en-GB" sz="1400" dirty="0" err="1">
                <a:solidFill>
                  <a:schemeClr val="bg1"/>
                </a:solidFill>
              </a:rPr>
              <a:t>predicción</a:t>
            </a:r>
            <a:r>
              <a:rPr lang="en-GB" sz="1400" dirty="0">
                <a:solidFill>
                  <a:schemeClr val="bg1"/>
                </a:solidFill>
              </a:rPr>
              <a:t> de la variable </a:t>
            </a:r>
            <a:r>
              <a:rPr lang="en-GB" sz="1400" dirty="0" err="1">
                <a:solidFill>
                  <a:schemeClr val="bg1"/>
                </a:solidFill>
              </a:rPr>
              <a:t>objetivo</a:t>
            </a:r>
            <a:r>
              <a:rPr lang="en-GB" sz="1400" dirty="0">
                <a:solidFill>
                  <a:schemeClr val="bg1"/>
                </a:solidFill>
              </a:rPr>
              <a:t> y, </a:t>
            </a:r>
            <a:r>
              <a:rPr lang="en-GB" sz="1400" dirty="0" err="1">
                <a:solidFill>
                  <a:schemeClr val="bg1"/>
                </a:solidFill>
              </a:rPr>
              <a:t>consecuentemente</a:t>
            </a:r>
            <a:r>
              <a:rPr lang="en-GB" sz="1400" dirty="0">
                <a:solidFill>
                  <a:schemeClr val="bg1"/>
                </a:solidFill>
              </a:rPr>
              <a:t>, se </a:t>
            </a:r>
            <a:r>
              <a:rPr lang="en-GB" sz="1400" dirty="0" err="1">
                <a:solidFill>
                  <a:schemeClr val="bg1"/>
                </a:solidFill>
              </a:rPr>
              <a:t>eliminan</a:t>
            </a:r>
            <a:r>
              <a:rPr lang="en-GB" sz="1400" dirty="0">
                <a:solidFill>
                  <a:schemeClr val="bg1"/>
                </a:solidFill>
              </a:rPr>
              <a:t> ambas variables del dataset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3244C5D-E595-4B0F-9C20-F742C50A177E}"/>
              </a:ext>
            </a:extLst>
          </p:cNvPr>
          <p:cNvSpPr/>
          <p:nvPr/>
        </p:nvSpPr>
        <p:spPr>
          <a:xfrm rot="16200000">
            <a:off x="3392258" y="2411373"/>
            <a:ext cx="1400725" cy="752771"/>
          </a:xfrm>
          <a:prstGeom prst="triangle">
            <a:avLst/>
          </a:prstGeom>
          <a:solidFill>
            <a:srgbClr val="FFCCCC"/>
          </a:solidFill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02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NULL VAL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pic>
        <p:nvPicPr>
          <p:cNvPr id="37" name="Graphic 36" descr="Research with solid fill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4819" y="366022"/>
            <a:ext cx="360546" cy="36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5B3264-81E4-4238-803B-7A0696019D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7132" y="1779535"/>
            <a:ext cx="5406645" cy="46578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FC2A0A7-CABD-4418-8194-BB714390BFED}"/>
              </a:ext>
            </a:extLst>
          </p:cNvPr>
          <p:cNvSpPr/>
          <p:nvPr/>
        </p:nvSpPr>
        <p:spPr>
          <a:xfrm>
            <a:off x="337132" y="1236101"/>
            <a:ext cx="5406645" cy="336723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3029">
              <a:defRPr/>
            </a:pPr>
            <a:r>
              <a:rPr lang="en-IN" sz="1400" b="1" kern="0" dirty="0">
                <a:solidFill>
                  <a:prstClr val="white"/>
                </a:solidFill>
                <a:cs typeface="Arial" panose="020B0604020202020204" pitchFamily="34" charset="0"/>
              </a:rPr>
              <a:t>Top 10 </a:t>
            </a:r>
            <a:r>
              <a:rPr lang="en-IN" sz="1400" b="1" kern="0" dirty="0" err="1">
                <a:solidFill>
                  <a:prstClr val="white"/>
                </a:solidFill>
                <a:cs typeface="Arial" panose="020B0604020202020204" pitchFamily="34" charset="0"/>
              </a:rPr>
              <a:t>columnas</a:t>
            </a:r>
            <a:r>
              <a:rPr lang="en-IN" sz="1400" b="1" kern="0" dirty="0">
                <a:solidFill>
                  <a:prstClr val="white"/>
                </a:solidFill>
                <a:cs typeface="Arial" panose="020B0604020202020204" pitchFamily="34" charset="0"/>
              </a:rPr>
              <a:t> que </a:t>
            </a:r>
            <a:r>
              <a:rPr lang="en-IN" sz="1400" b="1" kern="0" dirty="0" err="1">
                <a:solidFill>
                  <a:prstClr val="white"/>
                </a:solidFill>
                <a:cs typeface="Arial" panose="020B0604020202020204" pitchFamily="34" charset="0"/>
              </a:rPr>
              <a:t>contienen</a:t>
            </a:r>
            <a:r>
              <a:rPr lang="en-IN" sz="1400" b="1" kern="0" dirty="0">
                <a:solidFill>
                  <a:prstClr val="white"/>
                </a:solidFill>
                <a:cs typeface="Arial" panose="020B0604020202020204" pitchFamily="34" charset="0"/>
              </a:rPr>
              <a:t> nul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FB89AC-CC9B-4BC0-A31B-07A959CF511C}"/>
              </a:ext>
            </a:extLst>
          </p:cNvPr>
          <p:cNvSpPr txBox="1"/>
          <p:nvPr/>
        </p:nvSpPr>
        <p:spPr>
          <a:xfrm>
            <a:off x="6988461" y="2831814"/>
            <a:ext cx="1034878" cy="27238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900" b="1" dirty="0" err="1">
                <a:solidFill>
                  <a:schemeClr val="bg1"/>
                </a:solidFill>
              </a:rPr>
              <a:t>Número</a:t>
            </a:r>
            <a:r>
              <a:rPr lang="en-US" sz="900" b="1" dirty="0">
                <a:solidFill>
                  <a:schemeClr val="bg1"/>
                </a:solidFill>
              </a:rPr>
              <a:t> </a:t>
            </a:r>
            <a:r>
              <a:rPr lang="en-US" sz="900" b="1" dirty="0" err="1">
                <a:solidFill>
                  <a:schemeClr val="bg1"/>
                </a:solidFill>
              </a:rPr>
              <a:t>exacto</a:t>
            </a:r>
            <a:r>
              <a:rPr lang="en-US" sz="900" b="1" dirty="0">
                <a:solidFill>
                  <a:schemeClr val="bg1"/>
                </a:solidFill>
              </a:rPr>
              <a:t> de null valu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B2E857-F17F-4202-A8AD-2DB824A0B8EF}"/>
              </a:ext>
            </a:extLst>
          </p:cNvPr>
          <p:cNvSpPr txBox="1"/>
          <p:nvPr/>
        </p:nvSpPr>
        <p:spPr>
          <a:xfrm>
            <a:off x="6988461" y="4296933"/>
            <a:ext cx="1400290" cy="27238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900" b="1" dirty="0" err="1">
                <a:solidFill>
                  <a:schemeClr val="bg1"/>
                </a:solidFill>
              </a:rPr>
              <a:t>Rellenamos</a:t>
            </a:r>
            <a:r>
              <a:rPr lang="en-US" sz="900" b="1" dirty="0">
                <a:solidFill>
                  <a:schemeClr val="bg1"/>
                </a:solidFill>
              </a:rPr>
              <a:t> los null values con la </a:t>
            </a:r>
            <a:r>
              <a:rPr lang="en-US" sz="900" b="1" dirty="0" err="1">
                <a:solidFill>
                  <a:schemeClr val="bg1"/>
                </a:solidFill>
              </a:rPr>
              <a:t>mediana</a:t>
            </a:r>
            <a:endParaRPr lang="en-US" sz="900" b="1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4C4FD5-EF16-4515-9C9D-2B7511F7303A}"/>
              </a:ext>
            </a:extLst>
          </p:cNvPr>
          <p:cNvCxnSpPr>
            <a:cxnSpLocks/>
          </p:cNvCxnSpPr>
          <p:nvPr/>
        </p:nvCxnSpPr>
        <p:spPr>
          <a:xfrm flipV="1">
            <a:off x="6395013" y="1779535"/>
            <a:ext cx="0" cy="4220407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A6C8138-4ACF-46B5-9B80-092954BAE5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62233" y="399484"/>
            <a:ext cx="4002313" cy="2182837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B73E5FFA-FC06-4490-814E-118990D875C3}"/>
              </a:ext>
            </a:extLst>
          </p:cNvPr>
          <p:cNvGrpSpPr/>
          <p:nvPr/>
        </p:nvGrpSpPr>
        <p:grpSpPr>
          <a:xfrm>
            <a:off x="7789168" y="3285989"/>
            <a:ext cx="3295819" cy="856027"/>
            <a:chOff x="7785913" y="4448175"/>
            <a:chExt cx="3295819" cy="85602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C8EBEB5-548E-4124-86DB-E6829D7F4F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6017"/>
            <a:stretch/>
          </p:blipFill>
          <p:spPr>
            <a:xfrm>
              <a:off x="7785913" y="4482886"/>
              <a:ext cx="3295819" cy="821316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5039DB-38AB-486D-9FDF-81DE64AF2ABE}"/>
                </a:ext>
              </a:extLst>
            </p:cNvPr>
            <p:cNvSpPr/>
            <p:nvPr/>
          </p:nvSpPr>
          <p:spPr>
            <a:xfrm>
              <a:off x="7950200" y="4448175"/>
              <a:ext cx="2878664" cy="337203"/>
            </a:xfrm>
            <a:prstGeom prst="rect">
              <a:avLst/>
            </a:prstGeom>
            <a:solidFill>
              <a:srgbClr val="FFFFFF">
                <a:alpha val="7411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2F01EF4-766D-439B-97EF-5B94F673D4EF}"/>
                </a:ext>
              </a:extLst>
            </p:cNvPr>
            <p:cNvSpPr/>
            <p:nvPr/>
          </p:nvSpPr>
          <p:spPr>
            <a:xfrm>
              <a:off x="8063579" y="4945326"/>
              <a:ext cx="2878664" cy="318189"/>
            </a:xfrm>
            <a:prstGeom prst="rect">
              <a:avLst/>
            </a:prstGeom>
            <a:solidFill>
              <a:srgbClr val="FFFFFF">
                <a:alpha val="7411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9BBD7F0-0C5B-434A-947A-71D6F1BFE3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19714" y="4763353"/>
            <a:ext cx="3087350" cy="1930920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ACBD7324-D100-480F-8F46-AAF561497444}"/>
              </a:ext>
            </a:extLst>
          </p:cNvPr>
          <p:cNvCxnSpPr>
            <a:cxnSpLocks/>
            <a:stCxn id="19" idx="3"/>
            <a:endCxn id="23" idx="0"/>
          </p:cNvCxnSpPr>
          <p:nvPr/>
        </p:nvCxnSpPr>
        <p:spPr>
          <a:xfrm>
            <a:off x="8023339" y="2968005"/>
            <a:ext cx="1369448" cy="317984"/>
          </a:xfrm>
          <a:prstGeom prst="bentConnector2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65D163A-3067-46EA-B22D-4F9494B6F63D}"/>
              </a:ext>
            </a:extLst>
          </p:cNvPr>
          <p:cNvCxnSpPr>
            <a:cxnSpLocks/>
            <a:stCxn id="20" idx="3"/>
            <a:endCxn id="29" idx="0"/>
          </p:cNvCxnSpPr>
          <p:nvPr/>
        </p:nvCxnSpPr>
        <p:spPr>
          <a:xfrm>
            <a:off x="8388751" y="4433124"/>
            <a:ext cx="974638" cy="330229"/>
          </a:xfrm>
          <a:prstGeom prst="bentConnector2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1AE50A22-0A71-4482-902F-3DFD53FBB8B3}"/>
              </a:ext>
            </a:extLst>
          </p:cNvPr>
          <p:cNvSpPr txBox="1"/>
          <p:nvPr/>
        </p:nvSpPr>
        <p:spPr>
          <a:xfrm>
            <a:off x="6988461" y="412150"/>
            <a:ext cx="1034878" cy="27238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900" b="1" dirty="0" err="1">
                <a:solidFill>
                  <a:schemeClr val="bg1"/>
                </a:solidFill>
              </a:rPr>
              <a:t>Visualización</a:t>
            </a:r>
            <a:r>
              <a:rPr lang="en-US" sz="900" b="1" dirty="0">
                <a:solidFill>
                  <a:schemeClr val="bg1"/>
                </a:solidFill>
              </a:rPr>
              <a:t> de null value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1972D89-10FA-4990-A11B-15452AE313EA}"/>
              </a:ext>
            </a:extLst>
          </p:cNvPr>
          <p:cNvSpPr/>
          <p:nvPr/>
        </p:nvSpPr>
        <p:spPr>
          <a:xfrm>
            <a:off x="10616132" y="1236101"/>
            <a:ext cx="619125" cy="630802"/>
          </a:xfrm>
          <a:prstGeom prst="ellipse">
            <a:avLst/>
          </a:prstGeom>
          <a:noFill/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E457CCD-0875-47E7-AB56-6F0D2BB20C5E}"/>
              </a:ext>
            </a:extLst>
          </p:cNvPr>
          <p:cNvCxnSpPr>
            <a:cxnSpLocks/>
            <a:stCxn id="30" idx="1"/>
            <a:endCxn id="7" idx="1"/>
          </p:cNvCxnSpPr>
          <p:nvPr/>
        </p:nvCxnSpPr>
        <p:spPr>
          <a:xfrm rot="10800000" flipH="1" flipV="1">
            <a:off x="6988461" y="548341"/>
            <a:ext cx="373772" cy="942562"/>
          </a:xfrm>
          <a:prstGeom prst="bentConnector3">
            <a:avLst>
              <a:gd name="adj1" fmla="val -61160"/>
            </a:avLst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CA263EB-A456-49A5-BCF1-610F49EB5EFB}"/>
              </a:ext>
            </a:extLst>
          </p:cNvPr>
          <p:cNvCxnSpPr>
            <a:cxnSpLocks/>
          </p:cNvCxnSpPr>
          <p:nvPr/>
        </p:nvCxnSpPr>
        <p:spPr>
          <a:xfrm flipV="1">
            <a:off x="10916905" y="568841"/>
            <a:ext cx="476517" cy="482293"/>
          </a:xfrm>
          <a:prstGeom prst="line">
            <a:avLst/>
          </a:prstGeom>
          <a:noFill/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9C6F9B9-FC9C-4E81-8229-C43316C76816}"/>
              </a:ext>
            </a:extLst>
          </p:cNvPr>
          <p:cNvSpPr/>
          <p:nvPr/>
        </p:nvSpPr>
        <p:spPr>
          <a:xfrm>
            <a:off x="431691" y="2175934"/>
            <a:ext cx="5215575" cy="499534"/>
          </a:xfrm>
          <a:prstGeom prst="rect">
            <a:avLst/>
          </a:prstGeom>
          <a:noFill/>
          <a:ln w="19050">
            <a:solidFill>
              <a:srgbClr val="336699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476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OUTLI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DATA ANALYSIS</a:t>
            </a:r>
          </a:p>
        </p:txBody>
      </p:sp>
      <p:pic>
        <p:nvPicPr>
          <p:cNvPr id="37" name="Graphic 36" descr="Research with solid fill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44819" y="366022"/>
            <a:ext cx="360546" cy="360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04C32CD-1DB7-4B6A-B416-A4650C0A8B79}"/>
              </a:ext>
            </a:extLst>
          </p:cNvPr>
          <p:cNvGrpSpPr/>
          <p:nvPr/>
        </p:nvGrpSpPr>
        <p:grpSpPr>
          <a:xfrm>
            <a:off x="776975" y="1278554"/>
            <a:ext cx="10628234" cy="4990752"/>
            <a:chOff x="700701" y="1367189"/>
            <a:chExt cx="10628234" cy="4990752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F521DE-F617-451A-8244-B67824534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0701" y="1404463"/>
              <a:ext cx="3618380" cy="483213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9F15FA2-CD47-489D-8EC5-0526F715B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80580" y="1373717"/>
              <a:ext cx="3466109" cy="489558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2626C16-F99F-4287-AEA3-78BB2DAB3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006966" y="1367189"/>
              <a:ext cx="3321969" cy="4990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666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709A836-4CFE-402F-AB39-5B8597A5A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709A836-4CFE-402F-AB39-5B8597A5A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A143CEC-18B5-4B6C-BDAF-C5492BA2D4DB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GB" dirty="0"/>
              <a:t>VARIABLES CATEGÓRICAS vs </a:t>
            </a:r>
            <a:r>
              <a:rPr lang="en-GB" i="1" dirty="0"/>
              <a:t>satisf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B6A-C6DA-441E-90CC-862BCED2919D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/>
              <a:t>VISUALIZACIÓN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6484616C-11D5-47C5-824A-FF622B7966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545092" y="366022"/>
            <a:ext cx="360000" cy="36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FD6677A-C1CD-41E1-94D4-3054A6FA91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0232" y="1471840"/>
            <a:ext cx="3494647" cy="22353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7E8E6D-573E-4028-B466-E999A588F9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1088" y="1471840"/>
            <a:ext cx="3653620" cy="22924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873BAFE-BC79-48F5-B9EC-DD61CEECE8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02107" y="1481365"/>
            <a:ext cx="3781185" cy="23432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AD87CA-5BC7-48CA-A813-9451F819C7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3160" y="4201378"/>
            <a:ext cx="3904989" cy="239137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919819-F85A-4F8F-A063-7A0B542F9E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67251" y="4201378"/>
            <a:ext cx="2787011" cy="234327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D022FAD-F699-4AD3-AD01-6A3973C31963}"/>
              </a:ext>
            </a:extLst>
          </p:cNvPr>
          <p:cNvSpPr/>
          <p:nvPr/>
        </p:nvSpPr>
        <p:spPr>
          <a:xfrm>
            <a:off x="972401" y="1176182"/>
            <a:ext cx="3019178" cy="33672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Gend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E0D693-3665-4D64-B63D-76409093BA5C}"/>
              </a:ext>
            </a:extLst>
          </p:cNvPr>
          <p:cNvSpPr/>
          <p:nvPr/>
        </p:nvSpPr>
        <p:spPr>
          <a:xfrm>
            <a:off x="4696867" y="1176182"/>
            <a:ext cx="3019178" cy="33672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Customer typ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42E22A2-030B-4DCC-A58D-D5AB5C639209}"/>
              </a:ext>
            </a:extLst>
          </p:cNvPr>
          <p:cNvSpPr/>
          <p:nvPr/>
        </p:nvSpPr>
        <p:spPr>
          <a:xfrm>
            <a:off x="8453085" y="1176182"/>
            <a:ext cx="3019178" cy="33672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Type of tra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291AF9-DE9C-497D-B186-7E9433A477A6}"/>
              </a:ext>
            </a:extLst>
          </p:cNvPr>
          <p:cNvSpPr/>
          <p:nvPr/>
        </p:nvSpPr>
        <p:spPr>
          <a:xfrm>
            <a:off x="2662262" y="3911031"/>
            <a:ext cx="3019178" cy="33672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Clas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921C862-ACFD-4BE8-886B-62A007B3091E}"/>
              </a:ext>
            </a:extLst>
          </p:cNvPr>
          <p:cNvSpPr/>
          <p:nvPr/>
        </p:nvSpPr>
        <p:spPr>
          <a:xfrm>
            <a:off x="6626266" y="3911031"/>
            <a:ext cx="3019178" cy="336723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13029">
              <a:defRPr/>
            </a:pPr>
            <a:r>
              <a:rPr lang="en-IN" sz="1400" b="1" kern="0" dirty="0">
                <a:cs typeface="Arial" panose="020B0604020202020204" pitchFamily="34" charset="0"/>
              </a:rPr>
              <a:t>Satisfaction</a:t>
            </a:r>
          </a:p>
        </p:txBody>
      </p:sp>
    </p:spTree>
    <p:extLst>
      <p:ext uri="{BB962C8B-B14F-4D97-AF65-F5344CB8AC3E}">
        <p14:creationId xmlns:p14="http://schemas.microsoft.com/office/powerpoint/2010/main" val="2323658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7yF9bRQDubLkU9i7Ex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gt0k_KTUm0BN9ILSJg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gt0k_KTUm0BN9ILSJg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gt0k_KTUm0BN9ILSJg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DYNAMICSHAPE" val="Row header"/>
  <p:tag name="SYMBOL" val="Row header"/>
  <p:tag name="SYMBOLCOLOR" val="single"/>
  <p:tag name="FIXEDPOSITION" val="F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yRJezqE.i1Rb9VuilcQ"/>
  <p:tag name="DYNAMICSHAPE" val="Row header"/>
  <p:tag name="SYMBOL" val="Row header"/>
  <p:tag name="SYMBOLCOLOR" val="single"/>
  <p:tag name="FIXEDPOSITION" val="F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CAWSLmRY2Sx.aLB8QQ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fk4N9ISBSa8_T9NEy7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EY regular presentation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336699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EY light background">
  <a:themeElements>
    <a:clrScheme name="Custom 4">
      <a:dk1>
        <a:srgbClr val="FFFFFF"/>
      </a:dk1>
      <a:lt1>
        <a:srgbClr val="2E2E38"/>
      </a:lt1>
      <a:dk2>
        <a:srgbClr val="333399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7</TotalTime>
  <Words>440</Words>
  <Application>Microsoft Office PowerPoint</Application>
  <PresentationFormat>Widescreen</PresentationFormat>
  <Paragraphs>151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Arial Narrow</vt:lpstr>
      <vt:lpstr>Arial Nova</vt:lpstr>
      <vt:lpstr>Arial Nova Light</vt:lpstr>
      <vt:lpstr>Calibri</vt:lpstr>
      <vt:lpstr>Calibri Light</vt:lpstr>
      <vt:lpstr>EYInterstate</vt:lpstr>
      <vt:lpstr>EYInterstate Bold</vt:lpstr>
      <vt:lpstr>EYInterstate Light</vt:lpstr>
      <vt:lpstr>Georgia</vt:lpstr>
      <vt:lpstr>Office Theme</vt:lpstr>
      <vt:lpstr>4_EY regular presentation</vt:lpstr>
      <vt:lpstr>EY light background</vt:lpstr>
      <vt:lpstr>think-cell Slide</vt:lpstr>
      <vt:lpstr>PREDICCIÓN DE LA SATISFACCIÓN DE LOS USUARIOS DE UNA AEROLÍNE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ción de la satisfacción de los usuarios en un vuelo de avión</dc:title>
  <dc:creator>Anna Casanovas Riera</dc:creator>
  <cp:lastModifiedBy>Anna Casanovas Riera</cp:lastModifiedBy>
  <cp:revision>24</cp:revision>
  <dcterms:created xsi:type="dcterms:W3CDTF">2022-12-20T16:12:50Z</dcterms:created>
  <dcterms:modified xsi:type="dcterms:W3CDTF">2022-12-21T11:54:54Z</dcterms:modified>
</cp:coreProperties>
</file>